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1"/>
  </p:notesMasterIdLst>
  <p:handoutMasterIdLst>
    <p:handoutMasterId r:id="rId22"/>
  </p:handoutMasterIdLst>
  <p:sldIdLst>
    <p:sldId id="310" r:id="rId5"/>
    <p:sldId id="261" r:id="rId6"/>
    <p:sldId id="319" r:id="rId7"/>
    <p:sldId id="317" r:id="rId8"/>
    <p:sldId id="336" r:id="rId9"/>
    <p:sldId id="333" r:id="rId10"/>
    <p:sldId id="329" r:id="rId11"/>
    <p:sldId id="309" r:id="rId12"/>
    <p:sldId id="335" r:id="rId13"/>
    <p:sldId id="306" r:id="rId14"/>
    <p:sldId id="340" r:id="rId15"/>
    <p:sldId id="341" r:id="rId16"/>
    <p:sldId id="342" r:id="rId17"/>
    <p:sldId id="343" r:id="rId18"/>
    <p:sldId id="344" r:id="rId19"/>
    <p:sldId id="345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C711C05-CCF7-4EDC-A2CE-0703A4A6825B}">
          <p14:sldIdLst>
            <p14:sldId id="310"/>
            <p14:sldId id="261"/>
            <p14:sldId id="319"/>
            <p14:sldId id="317"/>
            <p14:sldId id="336"/>
            <p14:sldId id="333"/>
            <p14:sldId id="329"/>
            <p14:sldId id="309"/>
            <p14:sldId id="335"/>
            <p14:sldId id="306"/>
          </p14:sldIdLst>
        </p14:section>
        <p14:section name="Appendix" id="{A7994005-7015-435B-8C0E-E2A5F9F8499B}">
          <p14:sldIdLst>
            <p14:sldId id="340"/>
            <p14:sldId id="341"/>
            <p14:sldId id="342"/>
            <p14:sldId id="343"/>
            <p14:sldId id="344"/>
            <p14:sldId id="34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3CB8"/>
    <a:srgbClr val="F2F2F2"/>
    <a:srgbClr val="F7F7F7"/>
    <a:srgbClr val="F8F8F8"/>
    <a:srgbClr val="EBE903"/>
    <a:srgbClr val="00B1F0"/>
    <a:srgbClr val="9DE054"/>
    <a:srgbClr val="9AC4EE"/>
    <a:srgbClr val="FFDF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031" autoAdjust="0"/>
    <p:restoredTop sz="94650"/>
  </p:normalViewPr>
  <p:slideViewPr>
    <p:cSldViewPr snapToGrid="0">
      <p:cViewPr varScale="1">
        <p:scale>
          <a:sx n="67" d="100"/>
          <a:sy n="67" d="100"/>
        </p:scale>
        <p:origin x="648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4" d="100"/>
          <a:sy n="54" d="100"/>
        </p:scale>
        <p:origin x="2564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28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9409328626572001"/>
          <c:y val="0.22539398234877719"/>
          <c:w val="0.46846590449868497"/>
          <c:h val="0.64399377236313571"/>
        </c:manualLayout>
      </c:layout>
      <c:pieChart>
        <c:varyColors val="1"/>
        <c:ser>
          <c:idx val="0"/>
          <c:order val="0"/>
          <c:tx>
            <c:strRef>
              <c:f>Sheet1!$C$3</c:f>
              <c:strCache>
                <c:ptCount val="1"/>
                <c:pt idx="0">
                  <c:v>Market Share</c:v>
                </c:pt>
              </c:strCache>
            </c:strRef>
          </c:tx>
          <c:dPt>
            <c:idx val="0"/>
            <c:bubble3D val="0"/>
            <c:spPr>
              <a:solidFill>
                <a:srgbClr val="1ED76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2EB-B14F-9A03-89430794D48D}"/>
              </c:ext>
            </c:extLst>
          </c:dPt>
          <c:dPt>
            <c:idx val="1"/>
            <c:bubble3D val="0"/>
            <c:spPr>
              <a:solidFill>
                <a:srgbClr val="1672F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2EB-B14F-9A03-89430794D48D}"/>
              </c:ext>
            </c:extLst>
          </c:dPt>
          <c:dPt>
            <c:idx val="2"/>
            <c:bubble3D val="0"/>
            <c:spPr>
              <a:solidFill>
                <a:srgbClr val="FB4A6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2EB-B14F-9A03-89430794D48D}"/>
              </c:ext>
            </c:extLst>
          </c:dPt>
          <c:dPt>
            <c:idx val="3"/>
            <c:bubble3D val="0"/>
            <c:spPr>
              <a:solidFill>
                <a:srgbClr val="25D1D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2EB-B14F-9A03-89430794D48D}"/>
              </c:ext>
            </c:extLst>
          </c:dPt>
          <c:dPt>
            <c:idx val="4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82EB-B14F-9A03-89430794D48D}"/>
              </c:ext>
            </c:extLst>
          </c:dPt>
          <c:dPt>
            <c:idx val="5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82EB-B14F-9A03-89430794D48D}"/>
              </c:ext>
            </c:extLst>
          </c:dPt>
          <c:dPt>
            <c:idx val="6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82EB-B14F-9A03-89430794D48D}"/>
              </c:ext>
            </c:extLst>
          </c:dPt>
          <c:dPt>
            <c:idx val="7"/>
            <c:bubble3D val="0"/>
            <c:spPr>
              <a:solidFill>
                <a:schemeClr val="tx1">
                  <a:lumMod val="95000"/>
                  <a:lumOff val="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82EB-B14F-9A03-89430794D48D}"/>
              </c:ext>
            </c:extLst>
          </c:dPt>
          <c:dPt>
            <c:idx val="8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82EB-B14F-9A03-89430794D48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Georgia Pro" panose="02040502050405020303" pitchFamily="18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Sheet1!$B$4:$B$12</c:f>
              <c:strCache>
                <c:ptCount val="9"/>
                <c:pt idx="0">
                  <c:v>Spotify</c:v>
                </c:pt>
                <c:pt idx="1">
                  <c:v>Tencent Music</c:v>
                </c:pt>
                <c:pt idx="2">
                  <c:v>Apple Music </c:v>
                </c:pt>
                <c:pt idx="3">
                  <c:v>Amazon</c:v>
                </c:pt>
                <c:pt idx="4">
                  <c:v>Youtube Music</c:v>
                </c:pt>
                <c:pt idx="5">
                  <c:v>NetEase</c:v>
                </c:pt>
                <c:pt idx="6">
                  <c:v>Yandex</c:v>
                </c:pt>
                <c:pt idx="7">
                  <c:v>Deezer</c:v>
                </c:pt>
                <c:pt idx="8">
                  <c:v>Others</c:v>
                </c:pt>
              </c:strCache>
            </c:strRef>
          </c:cat>
          <c:val>
            <c:numRef>
              <c:f>Sheet1!$C$4:$C$12</c:f>
              <c:numCache>
                <c:formatCode>General</c:formatCode>
                <c:ptCount val="9"/>
                <c:pt idx="0">
                  <c:v>31.7</c:v>
                </c:pt>
                <c:pt idx="1">
                  <c:v>14.4</c:v>
                </c:pt>
                <c:pt idx="2">
                  <c:v>12.6</c:v>
                </c:pt>
                <c:pt idx="3">
                  <c:v>11.1</c:v>
                </c:pt>
                <c:pt idx="4">
                  <c:v>9.6999999999999993</c:v>
                </c:pt>
                <c:pt idx="5">
                  <c:v>6.7</c:v>
                </c:pt>
                <c:pt idx="6">
                  <c:v>3.4</c:v>
                </c:pt>
                <c:pt idx="7">
                  <c:v>1.3</c:v>
                </c:pt>
                <c:pt idx="8">
                  <c:v>9.6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82EB-B14F-9A03-89430794D48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3100893384149213"/>
          <c:y val="0.4119271543294839"/>
          <c:w val="0.21223230182222649"/>
          <c:h val="0.39513899420483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Georgia Pro" panose="02040502050405020303" pitchFamily="18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Georgia Pro" panose="02040502050405020303" pitchFamily="18" charset="0"/>
        </a:defRPr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spc="0" baseline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r>
              <a:rPr lang="en-US" b="1"/>
              <a:t>Strategy Canvas: SongFox vs Competito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chemeClr val="tx1"/>
              </a:solidFill>
              <a:latin typeface="Georgia" panose="02040502050405020303" pitchFamily="18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2257032803671828E-2"/>
          <c:y val="0.10926647696685381"/>
          <c:w val="0.95314153863938311"/>
          <c:h val="0.7124124176472097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potify</c:v>
                </c:pt>
              </c:strCache>
            </c:strRef>
          </c:tx>
          <c:spPr>
            <a:ln w="25400" cap="rnd">
              <a:solidFill>
                <a:srgbClr val="1ED760"/>
              </a:solidFill>
              <a:prstDash val="dash"/>
              <a:round/>
            </a:ln>
            <a:effectLst/>
          </c:spPr>
          <c:marker>
            <c:symbol val="circle"/>
            <c:size val="8"/>
            <c:spPr>
              <a:solidFill>
                <a:srgbClr val="1ED760"/>
              </a:solidFill>
              <a:ln w="9525">
                <a:solidFill>
                  <a:srgbClr val="1ED760"/>
                </a:solidFill>
              </a:ln>
              <a:effectLst/>
            </c:spPr>
          </c:marker>
          <c:cat>
            <c:strRef>
              <c:f>Sheet1!$A$2:$A$8</c:f>
              <c:strCache>
                <c:ptCount val="7"/>
                <c:pt idx="0">
                  <c:v>Price</c:v>
                </c:pt>
                <c:pt idx="1">
                  <c:v>AI Personalisation</c:v>
                </c:pt>
                <c:pt idx="2">
                  <c:v>Social &amp; Viral Discovery </c:v>
                </c:pt>
                <c:pt idx="3">
                  <c:v>Regional and Indie Support </c:v>
                </c:pt>
                <c:pt idx="4">
                  <c:v>Live Events </c:v>
                </c:pt>
                <c:pt idx="5">
                  <c:v>Catalog Size </c:v>
                </c:pt>
                <c:pt idx="6">
                  <c:v>Ad-Supported Model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1.5</c:v>
                </c:pt>
                <c:pt idx="1">
                  <c:v>4</c:v>
                </c:pt>
                <c:pt idx="2">
                  <c:v>2</c:v>
                </c:pt>
                <c:pt idx="3">
                  <c:v>3</c:v>
                </c:pt>
                <c:pt idx="4">
                  <c:v>3</c:v>
                </c:pt>
                <c:pt idx="5">
                  <c:v>5</c:v>
                </c:pt>
                <c:pt idx="6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85D-4FFB-B71B-196DA12C20C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pple Music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triangle"/>
            <c:size val="9"/>
            <c:spPr>
              <a:solidFill>
                <a:srgbClr val="0070C0"/>
              </a:solidFill>
              <a:ln w="9525">
                <a:solidFill>
                  <a:srgbClr val="003DB8"/>
                </a:solidFill>
              </a:ln>
              <a:effectLst/>
            </c:spPr>
          </c:marker>
          <c:cat>
            <c:strRef>
              <c:f>Sheet1!$A$2:$A$8</c:f>
              <c:strCache>
                <c:ptCount val="7"/>
                <c:pt idx="0">
                  <c:v>Price</c:v>
                </c:pt>
                <c:pt idx="1">
                  <c:v>AI Personalisation</c:v>
                </c:pt>
                <c:pt idx="2">
                  <c:v>Social &amp; Viral Discovery </c:v>
                </c:pt>
                <c:pt idx="3">
                  <c:v>Regional and Indie Support </c:v>
                </c:pt>
                <c:pt idx="4">
                  <c:v>Live Events </c:v>
                </c:pt>
                <c:pt idx="5">
                  <c:v>Catalog Size </c:v>
                </c:pt>
                <c:pt idx="6">
                  <c:v>Ad-Supported Model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2</c:v>
                </c:pt>
                <c:pt idx="4">
                  <c:v>1</c:v>
                </c:pt>
                <c:pt idx="5">
                  <c:v>5</c:v>
                </c:pt>
                <c:pt idx="6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85D-4FFB-B71B-196DA12C20C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mazon Music</c:v>
                </c:pt>
              </c:strCache>
            </c:strRef>
          </c:tx>
          <c:spPr>
            <a:ln w="25400" cap="rnd">
              <a:solidFill>
                <a:srgbClr val="FFC000"/>
              </a:solidFill>
              <a:prstDash val="dashDot"/>
              <a:round/>
            </a:ln>
            <a:effectLst/>
          </c:spPr>
          <c:marker>
            <c:symbol val="diamond"/>
            <c:size val="8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cat>
            <c:strRef>
              <c:f>Sheet1!$A$2:$A$8</c:f>
              <c:strCache>
                <c:ptCount val="7"/>
                <c:pt idx="0">
                  <c:v>Price</c:v>
                </c:pt>
                <c:pt idx="1">
                  <c:v>AI Personalisation</c:v>
                </c:pt>
                <c:pt idx="2">
                  <c:v>Social &amp; Viral Discovery </c:v>
                </c:pt>
                <c:pt idx="3">
                  <c:v>Regional and Indie Support </c:v>
                </c:pt>
                <c:pt idx="4">
                  <c:v>Live Events </c:v>
                </c:pt>
                <c:pt idx="5">
                  <c:v>Catalog Size </c:v>
                </c:pt>
                <c:pt idx="6">
                  <c:v>Ad-Supported Model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  <c:pt idx="0">
                  <c:v>4</c:v>
                </c:pt>
                <c:pt idx="1">
                  <c:v>2</c:v>
                </c:pt>
                <c:pt idx="2">
                  <c:v>1</c:v>
                </c:pt>
                <c:pt idx="3">
                  <c:v>2</c:v>
                </c:pt>
                <c:pt idx="4">
                  <c:v>1</c:v>
                </c:pt>
                <c:pt idx="5">
                  <c:v>4</c:v>
                </c:pt>
                <c:pt idx="6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85D-4FFB-B71B-196DA12C20C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ongFox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square"/>
            <c:size val="8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8</c:f>
              <c:strCache>
                <c:ptCount val="7"/>
                <c:pt idx="0">
                  <c:v>Price</c:v>
                </c:pt>
                <c:pt idx="1">
                  <c:v>AI Personalisation</c:v>
                </c:pt>
                <c:pt idx="2">
                  <c:v>Social &amp; Viral Discovery </c:v>
                </c:pt>
                <c:pt idx="3">
                  <c:v>Regional and Indie Support </c:v>
                </c:pt>
                <c:pt idx="4">
                  <c:v>Live Events </c:v>
                </c:pt>
                <c:pt idx="5">
                  <c:v>Catalog Size </c:v>
                </c:pt>
                <c:pt idx="6">
                  <c:v>Ad-Supported Model</c:v>
                </c:pt>
              </c:strCache>
            </c:strRef>
          </c:cat>
          <c:val>
            <c:numRef>
              <c:f>Sheet1!$E$2:$E$8</c:f>
              <c:numCache>
                <c:formatCode>General</c:formatCode>
                <c:ptCount val="7"/>
                <c:pt idx="0">
                  <c:v>1</c:v>
                </c:pt>
                <c:pt idx="1">
                  <c:v>3</c:v>
                </c:pt>
                <c:pt idx="2">
                  <c:v>3</c:v>
                </c:pt>
                <c:pt idx="3">
                  <c:v>4</c:v>
                </c:pt>
                <c:pt idx="4">
                  <c:v>4</c:v>
                </c:pt>
                <c:pt idx="5">
                  <c:v>2</c:v>
                </c:pt>
                <c:pt idx="6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85D-4FFB-B71B-196DA12C20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57004544"/>
        <c:axId val="1556979856"/>
      </c:lineChart>
      <c:catAx>
        <c:axId val="15570045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1556979856"/>
        <c:crosses val="autoZero"/>
        <c:auto val="1"/>
        <c:lblAlgn val="ctr"/>
        <c:lblOffset val="100"/>
        <c:noMultiLvlLbl val="0"/>
      </c:catAx>
      <c:valAx>
        <c:axId val="1556979856"/>
        <c:scaling>
          <c:orientation val="minMax"/>
          <c:max val="5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557004544"/>
        <c:crosses val="autoZero"/>
        <c:crossBetween val="between"/>
        <c:majorUnit val="1"/>
        <c:minorUnit val="1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Georgia" panose="02040502050405020303" pitchFamily="18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Georgia" panose="02040502050405020303" pitchFamily="18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F14A1CB-5452-AC70-7D60-1A44C62C56C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16B759-0F79-F999-E975-D9DBEDB8A51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B9E520-E069-0742-BD97-ED28BB08EC53}" type="datetimeFigureOut">
              <a:rPr lang="en-US" smtClean="0"/>
              <a:t>3/9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A7C7E-774B-6207-364F-BAC51DF08FD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9ACE22-8537-7305-26E3-E0E0AF83D50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B964BE-1CD1-1943-8CAA-B6D417321F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5003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F85F30-A497-F84E-BC49-B57AB2B760AA}" type="datetimeFigureOut">
              <a:rPr lang="en-US" smtClean="0"/>
              <a:t>3/9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7D3E5B-4BED-B24C-9674-6B6454D045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62337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B28CE1-70EB-4FD5-BD58-E845D252B2CE}" type="slidenum">
              <a:rPr lang="en-IN" smtClean="0"/>
              <a:t>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710537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928B31-B47C-9D09-ED83-3C9B4B618A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9BC8640-4720-523C-BCDB-DA54B09EE8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1C7E26-F22C-8E89-2E61-F2117E9F34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AD4636-685C-2B00-8DB3-B86B2F4C32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B28CE1-70EB-4FD5-BD58-E845D252B2CE}" type="slidenum">
              <a:rPr lang="en-IN" smtClean="0"/>
              <a:t>1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539507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ust do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7D3E5B-4BED-B24C-9674-6B6454D04561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52286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B28CE1-70EB-4FD5-BD58-E845D252B2CE}" type="slidenum">
              <a:rPr lang="en-IN" smtClean="0"/>
              <a:t>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500132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7D3E5B-4BED-B24C-9674-6B6454D04561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4816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ust do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7D3E5B-4BED-B24C-9674-6B6454D04561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05995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3342CD-D39D-D5F1-88A4-1A890E041F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79A76E7-E53B-FDC1-35C4-A487AA0131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89CE2C4-01D7-2D36-C5D4-3A0BF53744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937EB2-D0A1-47BE-F38D-E29961BAEC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B28CE1-70EB-4FD5-BD58-E845D252B2CE}" type="slidenum">
              <a:rPr lang="en-IN" smtClean="0"/>
              <a:t>1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16730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BF1308-5A53-67D7-5A0D-51AFD8C382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8EFD121-46BF-0952-F52A-808A37BBA1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338267-001F-C1D5-30FC-E4B567F525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0C6E8D-ADAA-16F9-5405-470C1573B3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B28CE1-70EB-4FD5-BD58-E845D252B2CE}" type="slidenum">
              <a:rPr lang="en-IN" smtClean="0"/>
              <a:t>1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372294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E2C06F-7CF2-2C7A-B8C5-B520B0FCE6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FC865FE-CAF1-1935-1985-7DAA5ADFFA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D08011E-4B46-1632-DF7C-82CFA64E32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9980FD-476E-E91B-31D9-70F1E34AA9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B28CE1-70EB-4FD5-BD58-E845D252B2CE}" type="slidenum">
              <a:rPr lang="en-IN" smtClean="0"/>
              <a:t>1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678547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B79AF5-A969-83C0-461F-51C3E7F5D1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42B75F-C0E3-B05A-1889-E0D3641184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B8D2074-290C-1B20-E454-F1E91E80D1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1297B4-C9EC-C3BB-CF1A-A7780C49CB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B28CE1-70EB-4FD5-BD58-E845D252B2CE}" type="slidenum">
              <a:rPr lang="en-IN" smtClean="0"/>
              <a:t>1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569918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8D49BB4-6F96-9FBB-9A36-074773760E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003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D49BB4-6F96-9FBB-9A36-074773760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4" name="Picture 6" descr="yellow and white balloons on orange surface">
            <a:extLst>
              <a:ext uri="{FF2B5EF4-FFF2-40B4-BE49-F238E27FC236}">
                <a16:creationId xmlns:a16="http://schemas.microsoft.com/office/drawing/2014/main" id="{A2C4EC38-B95D-3C36-D019-76EE907E886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/>
        </p:blipFill>
        <p:spPr bwMode="auto">
          <a:xfrm>
            <a:off x="4834563" y="1973279"/>
            <a:ext cx="6858000" cy="6858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Freeform 15">
            <a:extLst>
              <a:ext uri="{FF2B5EF4-FFF2-40B4-BE49-F238E27FC236}">
                <a16:creationId xmlns:a16="http://schemas.microsoft.com/office/drawing/2014/main" id="{58132D7F-41EA-9B99-B3E6-900A9039A2BF}"/>
              </a:ext>
            </a:extLst>
          </p:cNvPr>
          <p:cNvSpPr/>
          <p:nvPr userDrawn="1"/>
        </p:nvSpPr>
        <p:spPr>
          <a:xfrm>
            <a:off x="4791988" y="1980489"/>
            <a:ext cx="6929120" cy="4877511"/>
          </a:xfrm>
          <a:custGeom>
            <a:avLst/>
            <a:gdLst>
              <a:gd name="connsiteX0" fmla="*/ 3464560 w 6929120"/>
              <a:gd name="connsiteY0" fmla="*/ 0 h 4877511"/>
              <a:gd name="connsiteX1" fmla="*/ 6929120 w 6929120"/>
              <a:gd name="connsiteY1" fmla="*/ 3464560 h 4877511"/>
              <a:gd name="connsiteX2" fmla="*/ 6656858 w 6929120"/>
              <a:gd name="connsiteY2" fmla="*/ 4813124 h 4877511"/>
              <a:gd name="connsiteX3" fmla="*/ 6625841 w 6929120"/>
              <a:gd name="connsiteY3" fmla="*/ 4877511 h 4877511"/>
              <a:gd name="connsiteX4" fmla="*/ 303280 w 6929120"/>
              <a:gd name="connsiteY4" fmla="*/ 4877511 h 4877511"/>
              <a:gd name="connsiteX5" fmla="*/ 272263 w 6929120"/>
              <a:gd name="connsiteY5" fmla="*/ 4813124 h 4877511"/>
              <a:gd name="connsiteX6" fmla="*/ 0 w 6929120"/>
              <a:gd name="connsiteY6" fmla="*/ 3464560 h 4877511"/>
              <a:gd name="connsiteX7" fmla="*/ 3464560 w 6929120"/>
              <a:gd name="connsiteY7" fmla="*/ 0 h 4877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29120" h="4877511">
                <a:moveTo>
                  <a:pt x="3464560" y="0"/>
                </a:moveTo>
                <a:cubicBezTo>
                  <a:pt x="5377984" y="0"/>
                  <a:pt x="6929120" y="1551136"/>
                  <a:pt x="6929120" y="3464560"/>
                </a:cubicBezTo>
                <a:cubicBezTo>
                  <a:pt x="6929120" y="3942916"/>
                  <a:pt x="6832174" y="4398629"/>
                  <a:pt x="6656858" y="4813124"/>
                </a:cubicBezTo>
                <a:lnTo>
                  <a:pt x="6625841" y="4877511"/>
                </a:lnTo>
                <a:lnTo>
                  <a:pt x="303280" y="4877511"/>
                </a:lnTo>
                <a:lnTo>
                  <a:pt x="272263" y="4813124"/>
                </a:lnTo>
                <a:cubicBezTo>
                  <a:pt x="96946" y="4398629"/>
                  <a:pt x="0" y="3942916"/>
                  <a:pt x="0" y="3464560"/>
                </a:cubicBezTo>
                <a:cubicBezTo>
                  <a:pt x="0" y="1551136"/>
                  <a:pt x="1551136" y="0"/>
                  <a:pt x="3464560" y="0"/>
                </a:cubicBezTo>
                <a:close/>
              </a:path>
            </a:pathLst>
          </a:custGeom>
          <a:solidFill>
            <a:srgbClr val="00B050">
              <a:alpha val="23137"/>
            </a:srgbClr>
          </a:solidFill>
          <a:ln>
            <a:solidFill>
              <a:srgbClr val="FFF4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4248F2-5264-4601-AA0B-6C092F77F2D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16767" y="1399032"/>
            <a:ext cx="6757416" cy="3427502"/>
          </a:xfrm>
        </p:spPr>
        <p:txBody>
          <a:bodyPr vert="horz" lIns="0" tIns="0" rIns="0" bIns="0" anchor="t">
            <a:noAutofit/>
          </a:bodyPr>
          <a:lstStyle>
            <a:lvl1pPr algn="l">
              <a:defRPr sz="4500" cap="all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CFB69D3-5632-4285-A209-9DCA67DA66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6768" y="417444"/>
            <a:ext cx="7414940" cy="883258"/>
          </a:xfrm>
        </p:spPr>
        <p:txBody>
          <a:bodyPr lIns="0" tIns="0" rIns="0" bIns="182880"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2400" cap="all" spc="3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3076" name="Picture 4" descr="black wireless headset">
            <a:extLst>
              <a:ext uri="{FF2B5EF4-FFF2-40B4-BE49-F238E27FC236}">
                <a16:creationId xmlns:a16="http://schemas.microsoft.com/office/drawing/2014/main" id="{1D17DEBA-89C2-1679-DA17-641606D6BA4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backgroundMark x1="59867" y1="57321" x2="59867" y2="57321"/>
                        <a14:backgroundMark x1="64667" y1="61469" x2="64667" y2="61469"/>
                        <a14:backgroundMark x1="60500" y1="57721" x2="60500" y2="5772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014884">
            <a:off x="4268848" y="4500781"/>
            <a:ext cx="2698750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 descr="black wireless headset">
            <a:extLst>
              <a:ext uri="{FF2B5EF4-FFF2-40B4-BE49-F238E27FC236}">
                <a16:creationId xmlns:a16="http://schemas.microsoft.com/office/drawing/2014/main" id="{0FF61423-0B82-2EB5-5CC3-F1B2A4A6904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backgroundMark x1="59867" y1="57321" x2="59867" y2="57321"/>
                        <a14:backgroundMark x1="64667" y1="61469" x2="64667" y2="61469"/>
                        <a14:backgroundMark x1="60500" y1="57721" x2="60500" y2="5772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594398">
            <a:off x="6880894" y="2130468"/>
            <a:ext cx="2698751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black wireless headset">
            <a:extLst>
              <a:ext uri="{FF2B5EF4-FFF2-40B4-BE49-F238E27FC236}">
                <a16:creationId xmlns:a16="http://schemas.microsoft.com/office/drawing/2014/main" id="{F25D56A2-29BE-8A68-D94D-7FCC3E46847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backgroundMark x1="59867" y1="57321" x2="59867" y2="57321"/>
                        <a14:backgroundMark x1="64667" y1="61469" x2="64667" y2="61469"/>
                        <a14:backgroundMark x1="60500" y1="57721" x2="60500" y2="5772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780654">
            <a:off x="9464839" y="4507991"/>
            <a:ext cx="2698751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black wireless headset">
            <a:extLst>
              <a:ext uri="{FF2B5EF4-FFF2-40B4-BE49-F238E27FC236}">
                <a16:creationId xmlns:a16="http://schemas.microsoft.com/office/drawing/2014/main" id="{37649E6C-46A9-1407-8C21-B89CE226630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backgroundMark x1="59867" y1="57321" x2="59867" y2="57321"/>
                        <a14:backgroundMark x1="64667" y1="61469" x2="64667" y2="61469"/>
                        <a14:backgroundMark x1="60500" y1="57721" x2="60500" y2="5772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4791603">
            <a:off x="8582608" y="2967695"/>
            <a:ext cx="2698751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black wireless headset">
            <a:extLst>
              <a:ext uri="{FF2B5EF4-FFF2-40B4-BE49-F238E27FC236}">
                <a16:creationId xmlns:a16="http://schemas.microsoft.com/office/drawing/2014/main" id="{61A3D869-9B20-A7C3-260A-8BE0FE5032D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backgroundMark x1="59867" y1="57321" x2="59867" y2="57321"/>
                        <a14:backgroundMark x1="64667" y1="61469" x2="64667" y2="61469"/>
                        <a14:backgroundMark x1="60500" y1="57721" x2="60500" y2="5772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15395">
            <a:off x="5006346" y="2951175"/>
            <a:ext cx="2698751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64985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250F21D-F2DD-7321-0EAB-DA9F671A25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0392" y="182880"/>
            <a:ext cx="10122632" cy="1307592"/>
          </a:xfrm>
        </p:spPr>
        <p:txBody>
          <a:bodyPr anchor="b">
            <a:noAutofit/>
          </a:bodyPr>
          <a:lstStyle>
            <a:lvl1pPr algn="l">
              <a:defRPr sz="3200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75F077D-E901-4AA9-B062-1C37FF407B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50392" y="1837944"/>
            <a:ext cx="3941064" cy="4270248"/>
          </a:xfrm>
        </p:spPr>
        <p:txBody>
          <a:bodyPr lIns="91440" tIns="45720" rIns="91440" bIns="45720">
            <a:no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800" b="1" cap="all" baseline="0">
                <a:latin typeface="+mn-lt"/>
              </a:defRPr>
            </a:lvl1pPr>
            <a:lvl2pPr marL="283464" indent="-28575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latin typeface="+mn-lt"/>
              </a:defRPr>
            </a:lvl2pPr>
            <a:lvl3pPr marL="548640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7731A911-7B7E-249D-2D6A-132D4B395A3C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5614416" y="1837944"/>
            <a:ext cx="5358384" cy="4270248"/>
          </a:xfrm>
        </p:spPr>
        <p:txBody>
          <a:bodyPr lIns="0" tIns="0" rIns="0" bIns="0">
            <a:no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8EECBEC-47C0-1CBF-96E7-318D538984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826325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15987AE2-5803-BA29-C76B-C9FA864D3F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0392" y="182880"/>
            <a:ext cx="10122632" cy="1307592"/>
          </a:xfrm>
        </p:spPr>
        <p:txBody>
          <a:bodyPr anchor="b">
            <a:noAutofit/>
          </a:bodyPr>
          <a:lstStyle>
            <a:lvl1pPr algn="l">
              <a:defRPr sz="3200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75F077D-E901-4AA9-B062-1C37FF407B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50168" y="1828800"/>
            <a:ext cx="10126362" cy="4351338"/>
          </a:xfrm>
        </p:spPr>
        <p:txBody>
          <a:bodyPr lIns="0" tIns="0" rIns="0" bIns="0">
            <a:noAutofit/>
          </a:bodyPr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8EECBEC-47C0-1CBF-96E7-318D538984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0106943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B8540B3-3734-5A53-D7E0-D89871A371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0392" y="182880"/>
            <a:ext cx="10085832" cy="1307592"/>
          </a:xfrm>
        </p:spPr>
        <p:txBody>
          <a:bodyPr anchor="b">
            <a:noAutofit/>
          </a:bodyPr>
          <a:lstStyle>
            <a:lvl1pPr algn="l">
              <a:defRPr sz="3200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7E6B22B6-D5E7-7C52-B588-374568C8DD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50392" y="1911096"/>
            <a:ext cx="4837176" cy="2898648"/>
          </a:xfrm>
        </p:spPr>
        <p:txBody>
          <a:bodyPr lIns="0" tIns="0" rIns="0" bIns="0">
            <a:no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defRPr sz="1800" cap="none" baseline="0">
                <a:latin typeface="+mn-lt"/>
              </a:defRPr>
            </a:lvl1pPr>
            <a:lvl2pPr marL="283464" indent="-28575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latin typeface="+mn-lt"/>
              </a:defRPr>
            </a:lvl2pPr>
            <a:lvl3pPr marL="548640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BCDBC7A5-FE31-E809-7729-4AFA9CFD0DEB}"/>
              </a:ext>
            </a:extLst>
          </p:cNvPr>
          <p:cNvSpPr>
            <a:spLocks noGrp="1"/>
          </p:cNvSpPr>
          <p:nvPr>
            <p:ph sz="half" idx="36"/>
          </p:nvPr>
        </p:nvSpPr>
        <p:spPr>
          <a:xfrm>
            <a:off x="6812280" y="1911096"/>
            <a:ext cx="4453128" cy="1911096"/>
          </a:xfrm>
        </p:spPr>
        <p:txBody>
          <a:bodyPr lIns="0" tIns="0" rIns="0" bIns="0">
            <a:noAutofit/>
          </a:bodyPr>
          <a:lstStyle>
            <a:lvl1pPr marL="285750" indent="-285750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cap="none" baseline="0">
                <a:latin typeface="+mn-lt"/>
              </a:defRPr>
            </a:lvl1pPr>
            <a:lvl2pPr marL="548640" indent="-28575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latin typeface="+mn-lt"/>
              </a:defRPr>
            </a:lvl2pPr>
            <a:lvl3pPr marL="822960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C39E8D03-897F-C49F-D816-03B8BD63013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12280" y="4242816"/>
            <a:ext cx="4123944" cy="2615184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A615220-DA65-3A8D-609D-95B6D86B192A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7992005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arge walking intersection with one lone person">
            <a:extLst>
              <a:ext uri="{FF2B5EF4-FFF2-40B4-BE49-F238E27FC236}">
                <a16:creationId xmlns:a16="http://schemas.microsoft.com/office/drawing/2014/main" id="{09010683-ED2B-BF6C-90F9-AF09D38DB6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27000" contras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1811000" cy="6858000"/>
          </a:xfrm>
          <a:prstGeom prst="rect">
            <a:avLst/>
          </a:prstGeom>
        </p:spPr>
      </p:pic>
      <p:sp>
        <p:nvSpPr>
          <p:cNvPr id="6" name="Freeform 12">
            <a:extLst>
              <a:ext uri="{FF2B5EF4-FFF2-40B4-BE49-F238E27FC236}">
                <a16:creationId xmlns:a16="http://schemas.microsoft.com/office/drawing/2014/main" id="{82C1C4E7-A67E-5E90-3669-D2982C30E4FC}"/>
              </a:ext>
            </a:extLst>
          </p:cNvPr>
          <p:cNvSpPr/>
          <p:nvPr userDrawn="1"/>
        </p:nvSpPr>
        <p:spPr>
          <a:xfrm>
            <a:off x="777819" y="0"/>
            <a:ext cx="8272488" cy="6858000"/>
          </a:xfrm>
          <a:custGeom>
            <a:avLst/>
            <a:gdLst>
              <a:gd name="connsiteX0" fmla="*/ 2449074 w 8272488"/>
              <a:gd name="connsiteY0" fmla="*/ 0 h 6858000"/>
              <a:gd name="connsiteX1" fmla="*/ 5823415 w 8272488"/>
              <a:gd name="connsiteY1" fmla="*/ 0 h 6858000"/>
              <a:gd name="connsiteX2" fmla="*/ 5929477 w 8272488"/>
              <a:gd name="connsiteY2" fmla="*/ 47950 h 6858000"/>
              <a:gd name="connsiteX3" fmla="*/ 8272488 w 8272488"/>
              <a:gd name="connsiteY3" fmla="*/ 3776315 h 6858000"/>
              <a:gd name="connsiteX4" fmla="*/ 7025715 w 8272488"/>
              <a:gd name="connsiteY4" fmla="*/ 6735959 h 6858000"/>
              <a:gd name="connsiteX5" fmla="*/ 6893036 w 8272488"/>
              <a:gd name="connsiteY5" fmla="*/ 6858000 h 6858000"/>
              <a:gd name="connsiteX6" fmla="*/ 1379452 w 8272488"/>
              <a:gd name="connsiteY6" fmla="*/ 6858000 h 6858000"/>
              <a:gd name="connsiteX7" fmla="*/ 1246773 w 8272488"/>
              <a:gd name="connsiteY7" fmla="*/ 6735959 h 6858000"/>
              <a:gd name="connsiteX8" fmla="*/ 0 w 8272488"/>
              <a:gd name="connsiteY8" fmla="*/ 3776315 h 6858000"/>
              <a:gd name="connsiteX9" fmla="*/ 2343012 w 8272488"/>
              <a:gd name="connsiteY9" fmla="*/ 479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272488" h="6858000">
                <a:moveTo>
                  <a:pt x="2449074" y="0"/>
                </a:moveTo>
                <a:lnTo>
                  <a:pt x="5823415" y="0"/>
                </a:lnTo>
                <a:lnTo>
                  <a:pt x="5929477" y="47950"/>
                </a:lnTo>
                <a:cubicBezTo>
                  <a:pt x="7315814" y="715956"/>
                  <a:pt x="8272488" y="2134414"/>
                  <a:pt x="8272488" y="3776315"/>
                </a:cubicBezTo>
                <a:cubicBezTo>
                  <a:pt x="8272488" y="4936354"/>
                  <a:pt x="7794942" y="5984857"/>
                  <a:pt x="7025715" y="6735959"/>
                </a:cubicBezTo>
                <a:lnTo>
                  <a:pt x="6893036" y="6858000"/>
                </a:lnTo>
                <a:lnTo>
                  <a:pt x="1379452" y="6858000"/>
                </a:lnTo>
                <a:lnTo>
                  <a:pt x="1246773" y="6735959"/>
                </a:lnTo>
                <a:cubicBezTo>
                  <a:pt x="477546" y="5984857"/>
                  <a:pt x="0" y="4936354"/>
                  <a:pt x="0" y="3776315"/>
                </a:cubicBezTo>
                <a:cubicBezTo>
                  <a:pt x="0" y="2134414"/>
                  <a:pt x="956674" y="715956"/>
                  <a:pt x="2343012" y="4795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A36714-0A6D-7D0D-3336-B8081C409B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7196" y="2188196"/>
            <a:ext cx="5985159" cy="1594507"/>
          </a:xfrm>
        </p:spPr>
        <p:txBody>
          <a:bodyPr lIns="0" tIns="0" rIns="0" bIns="0" anchor="b">
            <a:noAutofit/>
          </a:bodyPr>
          <a:lstStyle>
            <a:lvl1pPr>
              <a:defRPr sz="3200" b="1" i="0" baseline="0">
                <a:solidFill>
                  <a:schemeClr val="tx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FA9DBC5-E4A8-5230-9CE1-9028498694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907196" y="4078224"/>
            <a:ext cx="5444517" cy="1731890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29F29DD-6F0C-B005-FD16-89C061AE31C9}"/>
              </a:ext>
            </a:extLst>
          </p:cNvPr>
          <p:cNvSpPr/>
          <p:nvPr userDrawn="1"/>
        </p:nvSpPr>
        <p:spPr>
          <a:xfrm>
            <a:off x="10408059" y="1151133"/>
            <a:ext cx="190346" cy="1037063"/>
          </a:xfrm>
          <a:prstGeom prst="rect">
            <a:avLst/>
          </a:prstGeom>
          <a:solidFill>
            <a:schemeClr val="accent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7980795-C54D-B27A-60D2-8758CAF840E2}"/>
              </a:ext>
            </a:extLst>
          </p:cNvPr>
          <p:cNvSpPr/>
          <p:nvPr userDrawn="1"/>
        </p:nvSpPr>
        <p:spPr>
          <a:xfrm>
            <a:off x="10987993" y="114070"/>
            <a:ext cx="190346" cy="1037063"/>
          </a:xfrm>
          <a:prstGeom prst="rect">
            <a:avLst/>
          </a:prstGeom>
          <a:solidFill>
            <a:schemeClr val="accent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203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7433D9-FD02-59E2-0F81-A0B7201D2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2DD052-3E45-E789-01F8-33250024ECB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9485D1-E172-8F0A-A425-3097B3ABC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C1210E-201E-4473-82AC-2466F5386C38}" type="datetime1">
              <a:rPr lang="en-US" smtClean="0"/>
              <a:t>3/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7E6B5E-6174-FD5C-41E8-FFC44C650D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72103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D97974-B93C-4C96-B3F6-F69E3D6DE6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6221" y="640080"/>
            <a:ext cx="5029200" cy="2157984"/>
          </a:xfrm>
        </p:spPr>
        <p:txBody>
          <a:bodyPr lIns="0" tIns="0" rIns="0" bIns="0" anchor="b">
            <a:noAutofit/>
          </a:bodyPr>
          <a:lstStyle>
            <a:lvl1pPr>
              <a:defRPr sz="3200" cap="all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46650F3-FE62-E3A1-C1F7-6A7E767D004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95412" y="653461"/>
            <a:ext cx="4597556" cy="55499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6FC6F2-80B4-49A7-9448-33FE2DF0E96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696221" y="3127248"/>
            <a:ext cx="4834517" cy="310896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None/>
              <a:defRPr sz="1800" cap="none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D80952A-DC24-8DFB-F8E3-1AAC5A9D5F6C}"/>
              </a:ext>
            </a:extLst>
          </p:cNvPr>
          <p:cNvSpPr/>
          <p:nvPr userDrawn="1"/>
        </p:nvSpPr>
        <p:spPr>
          <a:xfrm>
            <a:off x="11792373" y="0"/>
            <a:ext cx="40881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21A89689-0612-8B49-DF4A-1864B8558C5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 rot="16200000">
            <a:off x="8854442" y="2953511"/>
            <a:ext cx="6291068" cy="384048"/>
          </a:xfrm>
        </p:spPr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2FE54DA2-6D33-7833-E646-95347EF8B9A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 rot="16200000">
            <a:off x="11716512" y="6382510"/>
            <a:ext cx="566928" cy="384048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31798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ADE39F4-E652-D021-FAC3-9A057954548D}"/>
              </a:ext>
            </a:extLst>
          </p:cNvPr>
          <p:cNvSpPr/>
          <p:nvPr userDrawn="1"/>
        </p:nvSpPr>
        <p:spPr>
          <a:xfrm>
            <a:off x="0" y="0"/>
            <a:ext cx="4553712" cy="243230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993F1580-C478-6F3E-90EC-651483EF7B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3408" y="640080"/>
            <a:ext cx="5093208" cy="2189223"/>
          </a:xfrm>
        </p:spPr>
        <p:txBody>
          <a:bodyPr lIns="0" tIns="0" rIns="0" bIns="0" anchor="b">
            <a:noAutofit/>
          </a:bodyPr>
          <a:lstStyle>
            <a:lvl1pPr>
              <a:defRPr sz="32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FBA0098-0696-799B-78DA-DBE833190D5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32104" y="640080"/>
            <a:ext cx="4727448" cy="5559552"/>
          </a:xfrm>
          <a:custGeom>
            <a:avLst/>
            <a:gdLst>
              <a:gd name="connsiteX0" fmla="*/ 0 w 4727448"/>
              <a:gd name="connsiteY0" fmla="*/ 0 h 5559552"/>
              <a:gd name="connsiteX1" fmla="*/ 4727448 w 4727448"/>
              <a:gd name="connsiteY1" fmla="*/ 0 h 5559552"/>
              <a:gd name="connsiteX2" fmla="*/ 4727448 w 4727448"/>
              <a:gd name="connsiteY2" fmla="*/ 2500529 h 5559552"/>
              <a:gd name="connsiteX3" fmla="*/ 4596278 w 4727448"/>
              <a:gd name="connsiteY3" fmla="*/ 2513752 h 5559552"/>
              <a:gd name="connsiteX4" fmla="*/ 4071308 w 4727448"/>
              <a:gd name="connsiteY4" fmla="*/ 3157867 h 5559552"/>
              <a:gd name="connsiteX5" fmla="*/ 4596278 w 4727448"/>
              <a:gd name="connsiteY5" fmla="*/ 3801983 h 5559552"/>
              <a:gd name="connsiteX6" fmla="*/ 4727448 w 4727448"/>
              <a:gd name="connsiteY6" fmla="*/ 3815206 h 5559552"/>
              <a:gd name="connsiteX7" fmla="*/ 4727448 w 4727448"/>
              <a:gd name="connsiteY7" fmla="*/ 5559552 h 5559552"/>
              <a:gd name="connsiteX8" fmla="*/ 0 w 4727448"/>
              <a:gd name="connsiteY8" fmla="*/ 5559552 h 5559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727448" h="5559552">
                <a:moveTo>
                  <a:pt x="0" y="0"/>
                </a:moveTo>
                <a:lnTo>
                  <a:pt x="4727448" y="0"/>
                </a:lnTo>
                <a:lnTo>
                  <a:pt x="4727448" y="2500529"/>
                </a:lnTo>
                <a:lnTo>
                  <a:pt x="4596278" y="2513752"/>
                </a:lnTo>
                <a:cubicBezTo>
                  <a:pt x="4296678" y="2575059"/>
                  <a:pt x="4071308" y="2840144"/>
                  <a:pt x="4071308" y="3157867"/>
                </a:cubicBezTo>
                <a:cubicBezTo>
                  <a:pt x="4071308" y="3475590"/>
                  <a:pt x="4296678" y="3740676"/>
                  <a:pt x="4596278" y="3801983"/>
                </a:cubicBezTo>
                <a:lnTo>
                  <a:pt x="4727448" y="3815206"/>
                </a:lnTo>
                <a:lnTo>
                  <a:pt x="4727448" y="5559552"/>
                </a:lnTo>
                <a:lnTo>
                  <a:pt x="0" y="5559552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65DE34-CDB7-41F7-A95A-592B99558C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93408" y="3145536"/>
            <a:ext cx="4306824" cy="23134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26350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1">
            <a:extLst>
              <a:ext uri="{FF2B5EF4-FFF2-40B4-BE49-F238E27FC236}">
                <a16:creationId xmlns:a16="http://schemas.microsoft.com/office/drawing/2014/main" id="{592F592C-CC3F-8FC0-DAF8-24019474CA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7383" y="1106424"/>
            <a:ext cx="6839712" cy="1746504"/>
          </a:xfrm>
        </p:spPr>
        <p:txBody>
          <a:bodyPr lIns="0" tIns="0" rIns="0" bIns="0" anchor="b">
            <a:noAutofit/>
          </a:bodyPr>
          <a:lstStyle>
            <a:lvl1pPr>
              <a:defRPr sz="3200" baseline="0">
                <a:latin typeface="+mj-l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5AF112-F5BD-9AA8-0E64-A6972333DD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0392" y="3236976"/>
            <a:ext cx="5248656" cy="2660904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D9A5508-A146-4C36-FF14-5B78325C526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80960" y="804672"/>
            <a:ext cx="3475649" cy="5248656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DE7E217-DB17-AA1B-8753-DBFDF42AB32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8305795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 descr="A picture containing accessory&#10;&#10;Description automatically generated">
            <a:extLst>
              <a:ext uri="{FF2B5EF4-FFF2-40B4-BE49-F238E27FC236}">
                <a16:creationId xmlns:a16="http://schemas.microsoft.com/office/drawing/2014/main" id="{C36ADBF6-BB82-4096-70C0-7517A47A41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saturation sat="3300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21975" b="1533"/>
          <a:stretch>
            <a:fillRect/>
          </a:stretch>
        </p:blipFill>
        <p:spPr>
          <a:xfrm rot="8325578">
            <a:off x="-1775001" y="-1607470"/>
            <a:ext cx="10567962" cy="8905077"/>
          </a:xfrm>
          <a:custGeom>
            <a:avLst/>
            <a:gdLst>
              <a:gd name="connsiteX0" fmla="*/ 6047036 w 10567962"/>
              <a:gd name="connsiteY0" fmla="*/ 8905077 h 8905077"/>
              <a:gd name="connsiteX1" fmla="*/ 0 w 10567962"/>
              <a:gd name="connsiteY1" fmla="*/ 3603767 h 8905077"/>
              <a:gd name="connsiteX2" fmla="*/ 0 w 10567962"/>
              <a:gd name="connsiteY2" fmla="*/ 0 h 8905077"/>
              <a:gd name="connsiteX3" fmla="*/ 6292508 w 10567962"/>
              <a:gd name="connsiteY3" fmla="*/ 0 h 8905077"/>
              <a:gd name="connsiteX4" fmla="*/ 10567962 w 10567962"/>
              <a:gd name="connsiteY4" fmla="*/ 3748201 h 89050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7962" h="8905077">
                <a:moveTo>
                  <a:pt x="6047036" y="8905077"/>
                </a:moveTo>
                <a:lnTo>
                  <a:pt x="0" y="3603767"/>
                </a:lnTo>
                <a:lnTo>
                  <a:pt x="0" y="0"/>
                </a:lnTo>
                <a:lnTo>
                  <a:pt x="6292508" y="0"/>
                </a:lnTo>
                <a:lnTo>
                  <a:pt x="10567962" y="3748201"/>
                </a:lnTo>
                <a:close/>
              </a:path>
            </a:pathLst>
          </a:custGeom>
        </p:spPr>
      </p:pic>
      <p:sp>
        <p:nvSpPr>
          <p:cNvPr id="14" name="Freeform 13">
            <a:extLst>
              <a:ext uri="{FF2B5EF4-FFF2-40B4-BE49-F238E27FC236}">
                <a16:creationId xmlns:a16="http://schemas.microsoft.com/office/drawing/2014/main" id="{FA127B08-9EC5-3FDF-B7CC-DF3587255E18}"/>
              </a:ext>
            </a:extLst>
          </p:cNvPr>
          <p:cNvSpPr/>
          <p:nvPr userDrawn="1"/>
        </p:nvSpPr>
        <p:spPr>
          <a:xfrm>
            <a:off x="925160" y="4144752"/>
            <a:ext cx="4788322" cy="2713249"/>
          </a:xfrm>
          <a:custGeom>
            <a:avLst/>
            <a:gdLst>
              <a:gd name="connsiteX0" fmla="*/ 2394161 w 4788322"/>
              <a:gd name="connsiteY0" fmla="*/ 0 h 2713249"/>
              <a:gd name="connsiteX1" fmla="*/ 4788322 w 4788322"/>
              <a:gd name="connsiteY1" fmla="*/ 2394161 h 2713249"/>
              <a:gd name="connsiteX2" fmla="*/ 4775962 w 4788322"/>
              <a:gd name="connsiteY2" fmla="*/ 2638950 h 2713249"/>
              <a:gd name="connsiteX3" fmla="*/ 4764622 w 4788322"/>
              <a:gd name="connsiteY3" fmla="*/ 2713249 h 2713249"/>
              <a:gd name="connsiteX4" fmla="*/ 23700 w 4788322"/>
              <a:gd name="connsiteY4" fmla="*/ 2713249 h 2713249"/>
              <a:gd name="connsiteX5" fmla="*/ 12361 w 4788322"/>
              <a:gd name="connsiteY5" fmla="*/ 2638950 h 2713249"/>
              <a:gd name="connsiteX6" fmla="*/ 0 w 4788322"/>
              <a:gd name="connsiteY6" fmla="*/ 2394161 h 2713249"/>
              <a:gd name="connsiteX7" fmla="*/ 2394161 w 4788322"/>
              <a:gd name="connsiteY7" fmla="*/ 0 h 2713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88322" h="2713249">
                <a:moveTo>
                  <a:pt x="2394161" y="0"/>
                </a:moveTo>
                <a:cubicBezTo>
                  <a:pt x="3716420" y="0"/>
                  <a:pt x="4788322" y="1071902"/>
                  <a:pt x="4788322" y="2394161"/>
                </a:cubicBezTo>
                <a:cubicBezTo>
                  <a:pt x="4788322" y="2476803"/>
                  <a:pt x="4784135" y="2558466"/>
                  <a:pt x="4775962" y="2638950"/>
                </a:cubicBezTo>
                <a:lnTo>
                  <a:pt x="4764622" y="2713249"/>
                </a:lnTo>
                <a:lnTo>
                  <a:pt x="23700" y="2713249"/>
                </a:lnTo>
                <a:lnTo>
                  <a:pt x="12361" y="2638950"/>
                </a:lnTo>
                <a:cubicBezTo>
                  <a:pt x="4187" y="2558466"/>
                  <a:pt x="0" y="2476803"/>
                  <a:pt x="0" y="2394161"/>
                </a:cubicBezTo>
                <a:cubicBezTo>
                  <a:pt x="0" y="1071902"/>
                  <a:pt x="1071902" y="0"/>
                  <a:pt x="2394161" y="0"/>
                </a:cubicBezTo>
                <a:close/>
              </a:path>
            </a:pathLst>
          </a:custGeom>
          <a:solidFill>
            <a:schemeClr val="accent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651D38D-DD64-4914-C669-30AA47A5AF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3408" y="1325880"/>
            <a:ext cx="5093208" cy="2816352"/>
          </a:xfrm>
        </p:spPr>
        <p:txBody>
          <a:bodyPr lIns="0" tIns="0" rIns="0" bIns="0" anchor="b">
            <a:noAutofit/>
          </a:bodyPr>
          <a:lstStyle>
            <a:lvl1pPr>
              <a:defRPr sz="3200" cap="all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A8DA7F4-A65E-7F16-9966-719CC1CE28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93408" y="4462272"/>
            <a:ext cx="3995928" cy="1956816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None/>
              <a:defRPr sz="1800" cap="none" spc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FD6A538-39F8-D45E-F4C1-38779C640BBC}"/>
              </a:ext>
            </a:extLst>
          </p:cNvPr>
          <p:cNvSpPr/>
          <p:nvPr userDrawn="1"/>
        </p:nvSpPr>
        <p:spPr>
          <a:xfrm>
            <a:off x="11792373" y="0"/>
            <a:ext cx="40881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EEF7F7E-CEDE-375A-2865-F6BE608074F0}"/>
              </a:ext>
            </a:extLst>
          </p:cNvPr>
          <p:cNvSpPr/>
          <p:nvPr userDrawn="1"/>
        </p:nvSpPr>
        <p:spPr>
          <a:xfrm>
            <a:off x="11792373" y="0"/>
            <a:ext cx="40881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78063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0">
            <a:extLst>
              <a:ext uri="{FF2B5EF4-FFF2-40B4-BE49-F238E27FC236}">
                <a16:creationId xmlns:a16="http://schemas.microsoft.com/office/drawing/2014/main" id="{AB86DE8E-78DF-CA66-5AED-C7FF0CCF03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410512" y="4010866"/>
            <a:ext cx="5056094" cy="2847135"/>
          </a:xfrm>
          <a:custGeom>
            <a:avLst/>
            <a:gdLst>
              <a:gd name="connsiteX0" fmla="*/ 2528047 w 5056094"/>
              <a:gd name="connsiteY0" fmla="*/ 0 h 2847135"/>
              <a:gd name="connsiteX1" fmla="*/ 5056094 w 5056094"/>
              <a:gd name="connsiteY1" fmla="*/ 2528047 h 2847135"/>
              <a:gd name="connsiteX2" fmla="*/ 5043042 w 5056094"/>
              <a:gd name="connsiteY2" fmla="*/ 2786525 h 2847135"/>
              <a:gd name="connsiteX3" fmla="*/ 5033792 w 5056094"/>
              <a:gd name="connsiteY3" fmla="*/ 2847135 h 2847135"/>
              <a:gd name="connsiteX4" fmla="*/ 22302 w 5056094"/>
              <a:gd name="connsiteY4" fmla="*/ 2847135 h 2847135"/>
              <a:gd name="connsiteX5" fmla="*/ 13052 w 5056094"/>
              <a:gd name="connsiteY5" fmla="*/ 2786525 h 2847135"/>
              <a:gd name="connsiteX6" fmla="*/ 0 w 5056094"/>
              <a:gd name="connsiteY6" fmla="*/ 2528047 h 2847135"/>
              <a:gd name="connsiteX7" fmla="*/ 2528047 w 5056094"/>
              <a:gd name="connsiteY7" fmla="*/ 0 h 2847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56094" h="2847135">
                <a:moveTo>
                  <a:pt x="2528047" y="0"/>
                </a:moveTo>
                <a:cubicBezTo>
                  <a:pt x="3924249" y="0"/>
                  <a:pt x="5056094" y="1131845"/>
                  <a:pt x="5056094" y="2528047"/>
                </a:cubicBezTo>
                <a:cubicBezTo>
                  <a:pt x="5056094" y="2615310"/>
                  <a:pt x="5051673" y="2701540"/>
                  <a:pt x="5043042" y="2786525"/>
                </a:cubicBezTo>
                <a:lnTo>
                  <a:pt x="5033792" y="2847135"/>
                </a:lnTo>
                <a:lnTo>
                  <a:pt x="22302" y="2847135"/>
                </a:lnTo>
                <a:lnTo>
                  <a:pt x="13052" y="2786525"/>
                </a:lnTo>
                <a:cubicBezTo>
                  <a:pt x="4422" y="2701540"/>
                  <a:pt x="0" y="2615310"/>
                  <a:pt x="0" y="2528047"/>
                </a:cubicBezTo>
                <a:cubicBezTo>
                  <a:pt x="0" y="1131845"/>
                  <a:pt x="1131845" y="0"/>
                  <a:pt x="2528047" y="0"/>
                </a:cubicBezTo>
                <a:close/>
              </a:path>
            </a:pathLst>
          </a:custGeom>
          <a:solidFill>
            <a:schemeClr val="accent1">
              <a:alpha val="8969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15" name="Picture 14" descr="Modern house with cubic design">
            <a:extLst>
              <a:ext uri="{FF2B5EF4-FFF2-40B4-BE49-F238E27FC236}">
                <a16:creationId xmlns:a16="http://schemas.microsoft.com/office/drawing/2014/main" id="{FE966628-FEAF-3BD3-2DC4-23A466ABB9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12000" contrast="-1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-406" r="17667" b="23487"/>
          <a:stretch/>
        </p:blipFill>
        <p:spPr>
          <a:xfrm>
            <a:off x="4124294" y="2125402"/>
            <a:ext cx="7678065" cy="473259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0B5ED18-7A07-47F1-8056-CD86B076A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0392" y="420624"/>
            <a:ext cx="10954512" cy="1463040"/>
          </a:xfr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defRPr sz="3200" b="0" i="0" spc="600" baseline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BD9CFE2-F1DE-34DA-A154-9AE903E5B7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50899" y="2231136"/>
            <a:ext cx="4828032" cy="3566160"/>
          </a:xfrm>
        </p:spPr>
        <p:txBody>
          <a:bodyPr/>
          <a:lstStyle>
            <a:lvl1pPr marL="283464" indent="-283464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310569-B083-466A-F24B-8C44360B4EC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476947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1D5B031-92C7-C093-2551-D07457044EAC}"/>
              </a:ext>
            </a:extLst>
          </p:cNvPr>
          <p:cNvGrpSpPr/>
          <p:nvPr userDrawn="1"/>
        </p:nvGrpSpPr>
        <p:grpSpPr>
          <a:xfrm>
            <a:off x="-1" y="-2"/>
            <a:ext cx="12191610" cy="6858001"/>
            <a:chOff x="-1" y="-2"/>
            <a:chExt cx="12191610" cy="6858001"/>
          </a:xfrm>
        </p:grpSpPr>
        <p:pic>
          <p:nvPicPr>
            <p:cNvPr id="4" name="Picture Placeholder 14" descr="White modern architecture">
              <a:extLst>
                <a:ext uri="{FF2B5EF4-FFF2-40B4-BE49-F238E27FC236}">
                  <a16:creationId xmlns:a16="http://schemas.microsoft.com/office/drawing/2014/main" id="{21A49D77-8AEF-828A-03A8-2845B710DE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grayscl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>
              <a:off x="6155702" y="-2"/>
              <a:ext cx="6035907" cy="685800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</p:pic>
        <p:pic>
          <p:nvPicPr>
            <p:cNvPr id="5" name="Picture Placeholder 14" descr="White modern architecture">
              <a:extLst>
                <a:ext uri="{FF2B5EF4-FFF2-40B4-BE49-F238E27FC236}">
                  <a16:creationId xmlns:a16="http://schemas.microsoft.com/office/drawing/2014/main" id="{206EA98F-16E6-C607-6268-D08FD83B70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grayscl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>
              <a:off x="-1" y="-2"/>
              <a:ext cx="6035907" cy="685800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</p:pic>
      </p:grpSp>
      <p:sp>
        <p:nvSpPr>
          <p:cNvPr id="7" name="Title 6">
            <a:extLst>
              <a:ext uri="{FF2B5EF4-FFF2-40B4-BE49-F238E27FC236}">
                <a16:creationId xmlns:a16="http://schemas.microsoft.com/office/drawing/2014/main" id="{7E6947B8-AA10-E633-EF28-E1A80069E8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48932" y="0"/>
            <a:ext cx="6894136" cy="6894136"/>
          </a:xfrm>
          <a:custGeom>
            <a:avLst/>
            <a:gdLst>
              <a:gd name="connsiteX0" fmla="*/ 3447068 w 6894136"/>
              <a:gd name="connsiteY0" fmla="*/ 0 h 6894136"/>
              <a:gd name="connsiteX1" fmla="*/ 6894136 w 6894136"/>
              <a:gd name="connsiteY1" fmla="*/ 3447068 h 6894136"/>
              <a:gd name="connsiteX2" fmla="*/ 3447068 w 6894136"/>
              <a:gd name="connsiteY2" fmla="*/ 6894136 h 6894136"/>
              <a:gd name="connsiteX3" fmla="*/ 0 w 6894136"/>
              <a:gd name="connsiteY3" fmla="*/ 3447068 h 6894136"/>
              <a:gd name="connsiteX4" fmla="*/ 3447068 w 6894136"/>
              <a:gd name="connsiteY4" fmla="*/ 0 h 6894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94136" h="6894136">
                <a:moveTo>
                  <a:pt x="3447068" y="0"/>
                </a:moveTo>
                <a:cubicBezTo>
                  <a:pt x="5350831" y="0"/>
                  <a:pt x="6894136" y="1543305"/>
                  <a:pt x="6894136" y="3447068"/>
                </a:cubicBezTo>
                <a:cubicBezTo>
                  <a:pt x="6894136" y="5350831"/>
                  <a:pt x="5350831" y="6894136"/>
                  <a:pt x="3447068" y="6894136"/>
                </a:cubicBezTo>
                <a:cubicBezTo>
                  <a:pt x="1543305" y="6894136"/>
                  <a:pt x="0" y="5350831"/>
                  <a:pt x="0" y="3447068"/>
                </a:cubicBezTo>
                <a:cubicBezTo>
                  <a:pt x="0" y="1543305"/>
                  <a:pt x="1543305" y="0"/>
                  <a:pt x="3447068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>
            <a:lvl1pPr algn="ctr">
              <a:defRPr sz="4500" cap="all"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77362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2F7D74-558F-4816-9367-4004FFA2B6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879" y="868680"/>
            <a:ext cx="5248656" cy="2157984"/>
          </a:xfrm>
        </p:spPr>
        <p:txBody>
          <a:bodyPr lIns="0" tIns="0" rIns="0" bIns="0">
            <a:noAutofit/>
          </a:bodyPr>
          <a:lstStyle>
            <a:lvl1pPr>
              <a:defRPr sz="32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B075B629-22B4-B399-5D07-4652BF68213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159126"/>
            <a:ext cx="4577463" cy="3698875"/>
          </a:xfrm>
          <a:custGeom>
            <a:avLst/>
            <a:gdLst>
              <a:gd name="connsiteX0" fmla="*/ 1934275 w 4577463"/>
              <a:gd name="connsiteY0" fmla="*/ 0 h 3698875"/>
              <a:gd name="connsiteX1" fmla="*/ 4577463 w 4577463"/>
              <a:gd name="connsiteY1" fmla="*/ 2643188 h 3698875"/>
              <a:gd name="connsiteX2" fmla="*/ 4369748 w 4577463"/>
              <a:gd name="connsiteY2" fmla="*/ 3672036 h 3698875"/>
              <a:gd name="connsiteX3" fmla="*/ 4356819 w 4577463"/>
              <a:gd name="connsiteY3" fmla="*/ 3698875 h 3698875"/>
              <a:gd name="connsiteX4" fmla="*/ 0 w 4577463"/>
              <a:gd name="connsiteY4" fmla="*/ 3698875 h 3698875"/>
              <a:gd name="connsiteX5" fmla="*/ 0 w 4577463"/>
              <a:gd name="connsiteY5" fmla="*/ 845097 h 3698875"/>
              <a:gd name="connsiteX6" fmla="*/ 87814 w 4577463"/>
              <a:gd name="connsiteY6" fmla="*/ 751885 h 3698875"/>
              <a:gd name="connsiteX7" fmla="*/ 1934275 w 4577463"/>
              <a:gd name="connsiteY7" fmla="*/ 0 h 3698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7463" h="3698875">
                <a:moveTo>
                  <a:pt x="1934275" y="0"/>
                </a:moveTo>
                <a:cubicBezTo>
                  <a:pt x="3394067" y="0"/>
                  <a:pt x="4577463" y="1183396"/>
                  <a:pt x="4577463" y="2643188"/>
                </a:cubicBezTo>
                <a:cubicBezTo>
                  <a:pt x="4577463" y="3008136"/>
                  <a:pt x="4503501" y="3355810"/>
                  <a:pt x="4369748" y="3672036"/>
                </a:cubicBezTo>
                <a:lnTo>
                  <a:pt x="4356819" y="3698875"/>
                </a:lnTo>
                <a:lnTo>
                  <a:pt x="0" y="3698875"/>
                </a:lnTo>
                <a:lnTo>
                  <a:pt x="0" y="845097"/>
                </a:lnTo>
                <a:lnTo>
                  <a:pt x="87814" y="751885"/>
                </a:lnTo>
                <a:cubicBezTo>
                  <a:pt x="564249" y="286676"/>
                  <a:pt x="1215784" y="0"/>
                  <a:pt x="193427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C1B16EE8-89D3-7E4F-90BE-68EAAD85CBB7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6729984" y="786384"/>
            <a:ext cx="4617720" cy="2770632"/>
          </a:xfrm>
        </p:spPr>
        <p:txBody>
          <a:bodyPr lIns="0" tIns="0" rIns="0" bIns="0">
            <a:norm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defRPr sz="1800" b="1" cap="all" baseline="0">
                <a:latin typeface="+mn-lt"/>
              </a:defRPr>
            </a:lvl1pPr>
            <a:lvl2pPr marL="0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defRPr>
                <a:latin typeface="+mn-lt"/>
              </a:defRPr>
            </a:lvl2pPr>
            <a:lvl3pPr marL="283464" indent="-342900">
              <a:lnSpc>
                <a:spcPct val="12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3pPr>
            <a:lvl4pPr marL="548640" indent="-285750">
              <a:lnSpc>
                <a:spcPct val="12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4pPr>
            <a:lvl5pPr marL="822960" indent="-285750">
              <a:lnSpc>
                <a:spcPct val="12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75F077D-E901-4AA9-B062-1C37FF407B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729984" y="3858768"/>
            <a:ext cx="4617720" cy="2770632"/>
          </a:xfrm>
        </p:spPr>
        <p:txBody>
          <a:bodyPr lIns="0" tIns="0" rIns="0" bIns="0">
            <a:norm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defRPr sz="1800" b="1" cap="all" baseline="0">
                <a:latin typeface="+mn-lt"/>
              </a:defRPr>
            </a:lvl1pPr>
            <a:lvl2pPr marL="283464" indent="-283464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F04B56E-067D-C824-6EEB-3CCE57E4B5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8402317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250F21D-F2DD-7321-0EAB-DA9F671A25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0392" y="182880"/>
            <a:ext cx="10122632" cy="1307592"/>
          </a:xfrm>
        </p:spPr>
        <p:txBody>
          <a:bodyPr anchor="b">
            <a:noAutofit/>
          </a:bodyPr>
          <a:lstStyle>
            <a:lvl1pPr algn="l">
              <a:defRPr sz="3200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75F077D-E901-4AA9-B062-1C37FF407B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50392" y="1837944"/>
            <a:ext cx="10085832" cy="1426464"/>
          </a:xfrm>
        </p:spPr>
        <p:txBody>
          <a:bodyPr lIns="0" tIns="45720" rIns="91440" bIns="45720">
            <a:no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7731A911-7B7E-249D-2D6A-132D4B395A3C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50392" y="3950208"/>
            <a:ext cx="10085832" cy="2331720"/>
          </a:xfrm>
        </p:spPr>
        <p:txBody>
          <a:bodyPr lIns="0" tIns="0" rIns="0" bIns="0">
            <a:noAutofit/>
          </a:bodyPr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8EECBEC-47C0-1CBF-96E7-318D538984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1894823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76BAB301-F047-1FD5-4B4F-DD7DC76E5F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797643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21" imgH="423" progId="TCLayout.ActiveDocument.1">
                  <p:embed/>
                </p:oleObj>
              </mc:Choice>
              <mc:Fallback>
                <p:oleObj name="think-cell Slide" r:id="rId17" imgW="421" imgH="423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BAB301-F047-1FD5-4B4F-DD7DC76E5F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CD688C66-2A77-64CD-38B5-90492185CACE}"/>
              </a:ext>
            </a:extLst>
          </p:cNvPr>
          <p:cNvSpPr/>
          <p:nvPr userDrawn="1"/>
        </p:nvSpPr>
        <p:spPr>
          <a:xfrm rot="5400000" flipH="1" flipV="1">
            <a:off x="8570975" y="3236976"/>
            <a:ext cx="6858000" cy="38404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198F9AA-2C87-421D-97C1-B4248DFDC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6438" y="409576"/>
            <a:ext cx="109728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98FC63-C8D2-4CE6-A3F1-EE8ED24590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45644" y="1825625"/>
            <a:ext cx="11098307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33E5E79-C396-3919-759D-5AD893CE42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rot="16200000">
            <a:off x="11716512" y="6382510"/>
            <a:ext cx="566928" cy="3840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89035839-CD36-5568-9808-CCDD9953C9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8854442" y="2953511"/>
            <a:ext cx="6291068" cy="384048"/>
          </a:xfrm>
          <a:prstGeom prst="rect">
            <a:avLst/>
          </a:prstGeom>
          <a:noFill/>
        </p:spPr>
        <p:txBody>
          <a:bodyPr vert="horz" lIns="210312" tIns="45720" rIns="91440" bIns="45720" rtlCol="0" anchor="ctr"/>
          <a:lstStyle>
            <a:lvl1pPr algn="l">
              <a:defRPr sz="1200" b="1" cap="all" spc="3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788353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51" r:id="rId3"/>
    <p:sldLayoutId id="2147483664" r:id="rId4"/>
    <p:sldLayoutId id="2147483659" r:id="rId5"/>
    <p:sldLayoutId id="2147483654" r:id="rId6"/>
    <p:sldLayoutId id="2147483667" r:id="rId7"/>
    <p:sldLayoutId id="2147483665" r:id="rId8"/>
    <p:sldLayoutId id="2147483669" r:id="rId9"/>
    <p:sldLayoutId id="2147483670" r:id="rId10"/>
    <p:sldLayoutId id="2147483652" r:id="rId11"/>
    <p:sldLayoutId id="2147483656" r:id="rId12"/>
    <p:sldLayoutId id="2147483663" r:id="rId13"/>
    <p:sldLayoutId id="2147483671" r:id="rId14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i="0" kern="1200" cap="all" spc="600" baseline="0">
          <a:solidFill>
            <a:schemeClr val="tx1"/>
          </a:solidFill>
          <a:latin typeface="+mj-lt"/>
          <a:ea typeface="+mj-ea"/>
          <a:cs typeface="Arial Black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50000"/>
        </a:lnSpc>
        <a:spcBef>
          <a:spcPts val="1000"/>
        </a:spcBef>
        <a:buFontTx/>
        <a:buNone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150000"/>
        </a:lnSpc>
        <a:spcBef>
          <a:spcPts val="500"/>
        </a:spcBef>
        <a:buFontTx/>
        <a:buNone/>
        <a:defRPr sz="2200" b="0" i="0" kern="1200">
          <a:solidFill>
            <a:schemeClr val="tx1"/>
          </a:solidFill>
          <a:latin typeface="Avenir Next LT Pro" panose="020B0504020202020204" pitchFamily="34" charset="77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150000"/>
        </a:lnSpc>
        <a:spcBef>
          <a:spcPts val="500"/>
        </a:spcBef>
        <a:buFontTx/>
        <a:buNone/>
        <a:defRPr sz="2000" b="0" i="0" kern="1200">
          <a:solidFill>
            <a:schemeClr val="tx1"/>
          </a:solidFill>
          <a:latin typeface="Avenir Next LT Pro" panose="020B0504020202020204" pitchFamily="34" charset="77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150000"/>
        </a:lnSpc>
        <a:spcBef>
          <a:spcPts val="500"/>
        </a:spcBef>
        <a:buFontTx/>
        <a:buNone/>
        <a:defRPr sz="1800" b="0" i="0" kern="1200">
          <a:solidFill>
            <a:schemeClr val="tx1"/>
          </a:solidFill>
          <a:latin typeface="Avenir Next LT Pro" panose="020B0504020202020204" pitchFamily="34" charset="77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150000"/>
        </a:lnSpc>
        <a:spcBef>
          <a:spcPts val="500"/>
        </a:spcBef>
        <a:buFontTx/>
        <a:buNone/>
        <a:defRPr sz="1800" b="0" i="0" kern="1200">
          <a:solidFill>
            <a:schemeClr val="tx1"/>
          </a:solidFill>
          <a:latin typeface="Avenir Next LT Pro" panose="020B05040202020202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4" orient="horz" pos="1152" userDrawn="1">
          <p15:clr>
            <a:srgbClr val="547EBF"/>
          </p15:clr>
        </p15:guide>
        <p15:guide id="5" pos="7440" userDrawn="1">
          <p15:clr>
            <a:srgbClr val="547EBF"/>
          </p15:clr>
        </p15:guide>
        <p15:guide id="6" orient="horz" pos="4080" userDrawn="1">
          <p15:clr>
            <a:srgbClr val="547EBF"/>
          </p15:clr>
        </p15:guide>
        <p15:guide id="19" userDrawn="1">
          <p15:clr>
            <a:srgbClr val="547EBF"/>
          </p15:clr>
        </p15:guide>
        <p15:guide id="20" pos="7680" userDrawn="1">
          <p15:clr>
            <a:srgbClr val="547EBF"/>
          </p15:clr>
        </p15:guide>
        <p15:guide id="21" pos="528" userDrawn="1">
          <p15:clr>
            <a:srgbClr val="547EBF"/>
          </p15:clr>
        </p15:guide>
        <p15:guide id="22" pos="6912" userDrawn="1">
          <p15:clr>
            <a:srgbClr val="547EBF"/>
          </p15:clr>
        </p15:guide>
        <p15:guide id="23" orient="horz" pos="240" userDrawn="1">
          <p15:clr>
            <a:srgbClr val="547EBF"/>
          </p15:clr>
        </p15:guide>
        <p15:guide id="25" orient="horz" pos="552" userDrawn="1">
          <p15:clr>
            <a:srgbClr val="547EBF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hdphoto" Target="../media/hdphoto6.wdp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Relationship Id="rId9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11" Type="http://schemas.openxmlformats.org/officeDocument/2006/relationships/image" Target="../media/image14.png"/><Relationship Id="rId5" Type="http://schemas.openxmlformats.org/officeDocument/2006/relationships/image" Target="../media/image1.emf"/><Relationship Id="rId15" Type="http://schemas.openxmlformats.org/officeDocument/2006/relationships/image" Target="../media/image18.png"/><Relationship Id="rId10" Type="http://schemas.openxmlformats.org/officeDocument/2006/relationships/image" Target="../media/image13.jpe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2.png"/><Relationship Id="rId14" Type="http://schemas.openxmlformats.org/officeDocument/2006/relationships/image" Target="../media/image1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6.x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D9B532E-C09F-4FAD-5062-FD00D702F5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3234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9B532E-C09F-4FAD-5062-FD00D702F5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60C5300-AC43-F396-6E83-73A31578C2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8794" y="1399032"/>
            <a:ext cx="5199569" cy="1279396"/>
          </a:xfrm>
        </p:spPr>
        <p:txBody>
          <a:bodyPr vert="horz"/>
          <a:lstStyle/>
          <a:p>
            <a:r>
              <a:rPr lang="en-US" sz="3000" dirty="0"/>
              <a:t>Personalized Music Recommenda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A3BE460-3185-CD59-0215-356A228DF2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18794" y="417444"/>
            <a:ext cx="7414940" cy="883258"/>
          </a:xfrm>
        </p:spPr>
        <p:txBody>
          <a:bodyPr/>
          <a:lstStyle/>
          <a:p>
            <a:r>
              <a:rPr lang="en-US" dirty="0"/>
              <a:t>SONGFOX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BC2224-C460-DF27-7326-B06EA2E79AA8}"/>
              </a:ext>
            </a:extLst>
          </p:cNvPr>
          <p:cNvSpPr txBox="1"/>
          <p:nvPr/>
        </p:nvSpPr>
        <p:spPr>
          <a:xfrm>
            <a:off x="658664" y="4704915"/>
            <a:ext cx="387149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Group 2</a:t>
            </a:r>
          </a:p>
          <a:p>
            <a:r>
              <a:rPr lang="en-US" sz="1600" dirty="0"/>
              <a:t>Abhigna </a:t>
            </a:r>
            <a:r>
              <a:rPr lang="en-US" sz="1600" dirty="0" err="1"/>
              <a:t>Mallepally</a:t>
            </a:r>
            <a:r>
              <a:rPr lang="en-US" sz="1600" dirty="0"/>
              <a:t>  | </a:t>
            </a:r>
            <a:r>
              <a:rPr lang="en-US" sz="1600" dirty="0" err="1"/>
              <a:t>Anishka</a:t>
            </a:r>
            <a:r>
              <a:rPr lang="en-US" sz="1600" dirty="0"/>
              <a:t> Agarwal | Edwin Daniels | </a:t>
            </a:r>
            <a:r>
              <a:rPr lang="en-US" sz="1600" dirty="0" err="1"/>
              <a:t>Sachin</a:t>
            </a:r>
            <a:r>
              <a:rPr lang="en-US" sz="1600" dirty="0"/>
              <a:t> Sharma 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89CB4E3-B3CA-0509-CD98-A87DD54C1D22}"/>
              </a:ext>
            </a:extLst>
          </p:cNvPr>
          <p:cNvGrpSpPr/>
          <p:nvPr/>
        </p:nvGrpSpPr>
        <p:grpSpPr>
          <a:xfrm>
            <a:off x="6756418" y="5159503"/>
            <a:ext cx="2841171" cy="955010"/>
            <a:chOff x="6927869" y="5314951"/>
            <a:chExt cx="2841171" cy="955010"/>
          </a:xfrm>
        </p:grpSpPr>
        <p:sp>
          <p:nvSpPr>
            <p:cNvPr id="9" name="Rounded Rectangle 8">
              <a:extLst>
                <a:ext uri="{FF2B5EF4-FFF2-40B4-BE49-F238E27FC236}">
                  <a16:creationId xmlns:a16="http://schemas.microsoft.com/office/drawing/2014/main" id="{1C2C1A7C-AD6B-A1C3-1995-FB74161C6C40}"/>
                </a:ext>
              </a:extLst>
            </p:cNvPr>
            <p:cNvSpPr/>
            <p:nvPr/>
          </p:nvSpPr>
          <p:spPr>
            <a:xfrm>
              <a:off x="6927869" y="5559774"/>
              <a:ext cx="2841171" cy="481693"/>
            </a:xfrm>
            <a:prstGeom prst="round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355E34F-C084-C5E1-0D99-697FA8AC75E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083311" y="5314951"/>
              <a:ext cx="2530286" cy="9550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74887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BC34919-8509-C29B-845B-4326F8D78D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2094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C34919-8509-C29B-845B-4326F8D78D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624219-C450-9795-3D37-675668F591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8932" y="0"/>
            <a:ext cx="6894136" cy="6894136"/>
          </a:xfrm>
        </p:spPr>
        <p:txBody>
          <a:bodyPr vert="horz"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7535789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7F61FC-FAB2-EA73-DB25-ED56381F6B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B1C92A8-3ED9-9935-4B67-3DCF0A5230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789422-4E60-1B1D-2E48-462FBA32AA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BF1A4BE-1A40-4682-EC97-AA99681D4F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3408" y="1325880"/>
            <a:ext cx="5093208" cy="2816352"/>
          </a:xfrm>
        </p:spPr>
        <p:txBody>
          <a:bodyPr vert="horz"/>
          <a:lstStyle/>
          <a:p>
            <a:r>
              <a:rPr lang="en-US" sz="4000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9979726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B9D095-FBF7-4DD2-81C3-B2D6E61A5B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4">
            <a:extLst>
              <a:ext uri="{FF2B5EF4-FFF2-40B4-BE49-F238E27FC236}">
                <a16:creationId xmlns:a16="http://schemas.microsoft.com/office/drawing/2014/main" id="{7E823AA2-B9C5-0767-B12A-F96624E8F9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9600" y="367200"/>
            <a:ext cx="10123200" cy="979200"/>
          </a:xfrm>
        </p:spPr>
        <p:txBody>
          <a:bodyPr vert="horz" anchor="b" anchorCtr="0"/>
          <a:lstStyle/>
          <a:p>
            <a:r>
              <a:rPr lang="en-GB" sz="3200" dirty="0"/>
              <a:t>LOCALE DATA</a:t>
            </a:r>
          </a:p>
        </p:txBody>
      </p:sp>
      <p:pic>
        <p:nvPicPr>
          <p:cNvPr id="31" name="Picture 2">
            <a:extLst>
              <a:ext uri="{FF2B5EF4-FFF2-40B4-BE49-F238E27FC236}">
                <a16:creationId xmlns:a16="http://schemas.microsoft.com/office/drawing/2014/main" id="{BEC3E69A-FBC6-9815-872E-B1CB1F280B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830" y="1457014"/>
            <a:ext cx="9504740" cy="5247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04670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2CBED9-10B0-08CE-E3FE-1F6999503B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4">
            <a:extLst>
              <a:ext uri="{FF2B5EF4-FFF2-40B4-BE49-F238E27FC236}">
                <a16:creationId xmlns:a16="http://schemas.microsoft.com/office/drawing/2014/main" id="{60E01415-B2D2-F7FB-C440-4E4E5A4E3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9600" y="367200"/>
            <a:ext cx="10123200" cy="979200"/>
          </a:xfrm>
        </p:spPr>
        <p:txBody>
          <a:bodyPr vert="horz" anchor="b" anchorCtr="0"/>
          <a:lstStyle/>
          <a:p>
            <a:r>
              <a:rPr lang="en-GB" sz="3200" dirty="0"/>
              <a:t>Key Metric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018A974-53D6-3256-3A3F-D3BAFF2A581E}"/>
              </a:ext>
            </a:extLst>
          </p:cNvPr>
          <p:cNvGrpSpPr/>
          <p:nvPr/>
        </p:nvGrpSpPr>
        <p:grpSpPr>
          <a:xfrm>
            <a:off x="-398160" y="2026249"/>
            <a:ext cx="12618720" cy="4343434"/>
            <a:chOff x="-439809" y="1883374"/>
            <a:chExt cx="12618720" cy="434343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DD8334A-8550-76AE-36C5-2F5BE599417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 b="16615"/>
            <a:stretch/>
          </p:blipFill>
          <p:spPr>
            <a:xfrm>
              <a:off x="1132521" y="1969087"/>
              <a:ext cx="987920" cy="823777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DD7D7EF-BBB9-7AC0-62D5-7FFC13D1FC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4">
                  <a:shade val="45000"/>
                  <a:satMod val="135000"/>
                </a:schemeClr>
                <a:prstClr val="white"/>
              </a:duotone>
            </a:blip>
            <a:srcRect b="17661"/>
            <a:stretch/>
          </p:blipFill>
          <p:spPr>
            <a:xfrm>
              <a:off x="5189601" y="1892864"/>
              <a:ext cx="1093042" cy="900000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8370D121-FE7B-5AEF-F4C2-DB58FA926A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b="13686"/>
            <a:stretch/>
          </p:blipFill>
          <p:spPr>
            <a:xfrm>
              <a:off x="9327181" y="1892864"/>
              <a:ext cx="1042702" cy="900000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F8FA8DB-9658-C445-EB07-EEBD682805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rcRect b="17661"/>
            <a:stretch/>
          </p:blipFill>
          <p:spPr>
            <a:xfrm>
              <a:off x="1124564" y="4206200"/>
              <a:ext cx="1093042" cy="900000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0027E8C-6563-8054-4E3F-09522EB6F6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4700"/>
                      </a14:imgEffect>
                    </a14:imgLayer>
                  </a14:imgProps>
                </a:ext>
              </a:extLst>
            </a:blip>
            <a:srcRect b="13686"/>
            <a:stretch/>
          </p:blipFill>
          <p:spPr>
            <a:xfrm>
              <a:off x="5214771" y="4206200"/>
              <a:ext cx="1042702" cy="90000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A0C5487-A737-B2BD-000F-5DBA4C1302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b="17661"/>
            <a:stretch/>
          </p:blipFill>
          <p:spPr>
            <a:xfrm>
              <a:off x="9327181" y="4206200"/>
              <a:ext cx="1093042" cy="900000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0801FDB-BDAA-CD6E-40B1-9E14918D5F43}"/>
                </a:ext>
              </a:extLst>
            </p:cNvPr>
            <p:cNvSpPr txBox="1"/>
            <p:nvPr/>
          </p:nvSpPr>
          <p:spPr>
            <a:xfrm>
              <a:off x="-439809" y="3008275"/>
              <a:ext cx="44907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/>
                <a:t>Avg. Session Duration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4064073-0533-A1A8-8AE5-58ECECAD2607}"/>
                </a:ext>
              </a:extLst>
            </p:cNvPr>
            <p:cNvSpPr txBox="1"/>
            <p:nvPr/>
          </p:nvSpPr>
          <p:spPr>
            <a:xfrm>
              <a:off x="-354565" y="5223155"/>
              <a:ext cx="44907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/>
                <a:t>User Stickiness (DAU/MAU)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29D6ED8-02CA-2C78-CD94-E2E58ED60B41}"/>
                </a:ext>
              </a:extLst>
            </p:cNvPr>
            <p:cNvSpPr txBox="1"/>
            <p:nvPr/>
          </p:nvSpPr>
          <p:spPr>
            <a:xfrm>
              <a:off x="3542911" y="5223155"/>
              <a:ext cx="44907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ZA" b="1" dirty="0"/>
                <a:t>Subscription Conversion Rate</a:t>
              </a:r>
              <a:endParaRPr lang="en-US" b="1" dirty="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A19FC32-B5E3-9B3D-E847-C80D4CFEF986}"/>
                </a:ext>
              </a:extLst>
            </p:cNvPr>
            <p:cNvSpPr txBox="1"/>
            <p:nvPr/>
          </p:nvSpPr>
          <p:spPr>
            <a:xfrm>
              <a:off x="7594798" y="5223155"/>
              <a:ext cx="44907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ZA" b="1" dirty="0"/>
                <a:t>ARPU (Avg. Revenue/User)</a:t>
              </a:r>
              <a:endParaRPr lang="en-US" b="1" dirty="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948BB38-9425-9179-2000-5B5B2329D3F5}"/>
                </a:ext>
              </a:extLst>
            </p:cNvPr>
            <p:cNvSpPr txBox="1"/>
            <p:nvPr/>
          </p:nvSpPr>
          <p:spPr>
            <a:xfrm>
              <a:off x="7688191" y="3008275"/>
              <a:ext cx="44907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ZA" b="1" dirty="0"/>
                <a:t>Churn Rate</a:t>
              </a:r>
              <a:endParaRPr lang="en-US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A0F2C9B-0CC7-71BA-842B-70EABD5FA11E}"/>
                </a:ext>
              </a:extLst>
            </p:cNvPr>
            <p:cNvSpPr txBox="1"/>
            <p:nvPr/>
          </p:nvSpPr>
          <p:spPr>
            <a:xfrm>
              <a:off x="3583551" y="3008275"/>
              <a:ext cx="44907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ZA" b="1" dirty="0"/>
                <a:t>AI Recommendation Accuracy</a:t>
              </a:r>
              <a:endParaRPr lang="en-US" b="1" dirty="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DF67AF2-99CD-30A4-D04E-1D1B63F5E4B1}"/>
                </a:ext>
              </a:extLst>
            </p:cNvPr>
            <p:cNvSpPr txBox="1"/>
            <p:nvPr/>
          </p:nvSpPr>
          <p:spPr>
            <a:xfrm>
              <a:off x="2234253" y="2021874"/>
              <a:ext cx="1738644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ZA" b="1" dirty="0"/>
                <a:t>60+ </a:t>
              </a:r>
              <a:r>
                <a:rPr lang="en-ZA" dirty="0"/>
                <a:t>min/session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EF9551B-CCE6-0290-4A89-5095BBCC6D3B}"/>
                </a:ext>
              </a:extLst>
            </p:cNvPr>
            <p:cNvSpPr txBox="1"/>
            <p:nvPr/>
          </p:nvSpPr>
          <p:spPr>
            <a:xfrm>
              <a:off x="6364550" y="2021874"/>
              <a:ext cx="1313942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ZA" b="1" dirty="0"/>
                <a:t>70%+ </a:t>
              </a:r>
              <a:r>
                <a:rPr lang="en-ZA" dirty="0"/>
                <a:t>user approval</a:t>
              </a:r>
              <a:endParaRPr lang="en-US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4DF6AD4-EC97-A5EA-A6A2-2121CA5162AD}"/>
                </a:ext>
              </a:extLst>
            </p:cNvPr>
            <p:cNvSpPr txBox="1"/>
            <p:nvPr/>
          </p:nvSpPr>
          <p:spPr>
            <a:xfrm>
              <a:off x="10420223" y="1883374"/>
              <a:ext cx="1598349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ZA" b="1" dirty="0"/>
                <a:t>&lt;10% </a:t>
              </a:r>
              <a:r>
                <a:rPr lang="en-ZA" dirty="0"/>
                <a:t>monthly churn</a:t>
              </a:r>
              <a:endParaRPr lang="en-US" dirty="0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820406C-F3B3-6FF7-FC05-586B7F5D3F7F}"/>
                </a:ext>
              </a:extLst>
            </p:cNvPr>
            <p:cNvSpPr txBox="1"/>
            <p:nvPr/>
          </p:nvSpPr>
          <p:spPr>
            <a:xfrm>
              <a:off x="2234253" y="4506923"/>
              <a:ext cx="101676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ZA" b="1" dirty="0"/>
                <a:t>&gt;50%</a:t>
              </a:r>
              <a:endParaRPr lang="en-ZA" dirty="0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949AAB1-DB4F-E1B5-C322-BFD85734C390}"/>
                </a:ext>
              </a:extLst>
            </p:cNvPr>
            <p:cNvSpPr txBox="1"/>
            <p:nvPr/>
          </p:nvSpPr>
          <p:spPr>
            <a:xfrm>
              <a:off x="6301982" y="4472496"/>
              <a:ext cx="1042702" cy="3674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ZA" b="1" dirty="0"/>
                <a:t>&gt; 10%</a:t>
              </a:r>
              <a:endParaRPr lang="en-US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0D2C087-D1E5-99D6-6EB6-8ADE27F8A1EB}"/>
                </a:ext>
              </a:extLst>
            </p:cNvPr>
            <p:cNvSpPr txBox="1"/>
            <p:nvPr/>
          </p:nvSpPr>
          <p:spPr>
            <a:xfrm>
              <a:off x="459599" y="3342587"/>
              <a:ext cx="3083312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ZA" sz="1400" dirty="0"/>
                <a:t>Higher ad revenue per session ($0.02-$0.05 per session)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BD7BB01-4DB4-B8A4-FDB7-80F4A78518A8}"/>
                </a:ext>
              </a:extLst>
            </p:cNvPr>
            <p:cNvSpPr txBox="1"/>
            <p:nvPr/>
          </p:nvSpPr>
          <p:spPr>
            <a:xfrm>
              <a:off x="3972897" y="3342587"/>
              <a:ext cx="3714198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ZA" sz="1400" dirty="0"/>
                <a:t>Higher retention &amp; engagement → boosts premium conversion</a:t>
              </a:r>
              <a:endParaRPr lang="en-US" sz="1400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DD71393-0173-F875-2927-A70212ADFDB7}"/>
                </a:ext>
              </a:extLst>
            </p:cNvPr>
            <p:cNvSpPr txBox="1"/>
            <p:nvPr/>
          </p:nvSpPr>
          <p:spPr>
            <a:xfrm>
              <a:off x="8333143" y="3380734"/>
              <a:ext cx="3200816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ZA" sz="1400" dirty="0"/>
                <a:t>Limits revenue loss → Sustainable growth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B94F3682-E501-3BDE-37CD-98396B3185FA}"/>
                </a:ext>
              </a:extLst>
            </p:cNvPr>
            <p:cNvSpPr txBox="1"/>
            <p:nvPr/>
          </p:nvSpPr>
          <p:spPr>
            <a:xfrm>
              <a:off x="116301" y="5703588"/>
              <a:ext cx="347121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ZA" sz="1400" dirty="0"/>
                <a:t>More daily users → Higher recurring engagement &amp; ad revenue</a:t>
              </a:r>
              <a:endParaRPr lang="en-US" sz="1400" dirty="0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0074C95-0902-570A-E515-71D6B30C1351}"/>
                </a:ext>
              </a:extLst>
            </p:cNvPr>
            <p:cNvSpPr txBox="1"/>
            <p:nvPr/>
          </p:nvSpPr>
          <p:spPr>
            <a:xfrm>
              <a:off x="4050911" y="5703588"/>
              <a:ext cx="3312160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ZA" sz="1400" dirty="0"/>
                <a:t>100K users → 10K paid users ($99K/</a:t>
              </a:r>
              <a:r>
                <a:rPr lang="en-ZA" sz="1400" dirty="0" err="1"/>
                <a:t>mo</a:t>
              </a:r>
              <a:r>
                <a:rPr lang="en-ZA" sz="1400" dirty="0"/>
                <a:t>)</a:t>
              </a:r>
              <a:endParaRPr lang="en-US" sz="1400" dirty="0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49C1E88-3F85-50CC-23FA-1F20C6869FB6}"/>
                </a:ext>
              </a:extLst>
            </p:cNvPr>
            <p:cNvSpPr txBox="1"/>
            <p:nvPr/>
          </p:nvSpPr>
          <p:spPr>
            <a:xfrm>
              <a:off x="10414392" y="4484621"/>
              <a:ext cx="1042702" cy="3674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ZA" b="1" dirty="0"/>
                <a:t>&gt; $5</a:t>
              </a:r>
              <a:endParaRPr lang="en-US" b="1" dirty="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A80FC3E-436E-9F3F-9A2E-D76AC42226D0}"/>
                </a:ext>
              </a:extLst>
            </p:cNvPr>
            <p:cNvSpPr txBox="1"/>
            <p:nvPr/>
          </p:nvSpPr>
          <p:spPr>
            <a:xfrm>
              <a:off x="8326574" y="5598942"/>
              <a:ext cx="3027168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sz="1400"/>
              </a:lvl1pPr>
            </a:lstStyle>
            <a:p>
              <a:r>
                <a:rPr lang="en-ZA" dirty="0"/>
                <a:t>Supports revenue projections of $540K+ at 100k users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6678188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31A170-E08A-4E2B-4BA9-DE857F0E03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4">
            <a:extLst>
              <a:ext uri="{FF2B5EF4-FFF2-40B4-BE49-F238E27FC236}">
                <a16:creationId xmlns:a16="http://schemas.microsoft.com/office/drawing/2014/main" id="{634DAA5E-F7D1-045D-0F84-DA7B5D7AC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9600" y="367200"/>
            <a:ext cx="10123200" cy="979200"/>
          </a:xfrm>
        </p:spPr>
        <p:txBody>
          <a:bodyPr vert="horz" anchor="b" anchorCtr="0"/>
          <a:lstStyle/>
          <a:p>
            <a:r>
              <a:rPr lang="en-GB" sz="3200" dirty="0"/>
              <a:t>Competitive Gap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521F8AC-7A0A-3251-AE29-7E63978B8A27}"/>
              </a:ext>
            </a:extLst>
          </p:cNvPr>
          <p:cNvGrpSpPr/>
          <p:nvPr/>
        </p:nvGrpSpPr>
        <p:grpSpPr>
          <a:xfrm>
            <a:off x="982536" y="1557483"/>
            <a:ext cx="10226928" cy="5130798"/>
            <a:chOff x="746096" y="1643208"/>
            <a:chExt cx="10226928" cy="5130798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2A9EEA5F-5A18-87C4-37FF-69F205254CEF}"/>
                </a:ext>
              </a:extLst>
            </p:cNvPr>
            <p:cNvGrpSpPr/>
            <p:nvPr/>
          </p:nvGrpSpPr>
          <p:grpSpPr>
            <a:xfrm>
              <a:off x="746096" y="1643208"/>
              <a:ext cx="10226928" cy="5130798"/>
              <a:chOff x="746096" y="1643208"/>
              <a:chExt cx="10226928" cy="5130798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006F60DD-6169-1638-1C88-141AF520E96A}"/>
                  </a:ext>
                </a:extLst>
              </p:cNvPr>
              <p:cNvGrpSpPr/>
              <p:nvPr/>
            </p:nvGrpSpPr>
            <p:grpSpPr>
              <a:xfrm>
                <a:off x="746096" y="1942675"/>
                <a:ext cx="1329855" cy="4166239"/>
                <a:chOff x="686136" y="1897705"/>
                <a:chExt cx="1329855" cy="4166239"/>
              </a:xfrm>
            </p:grpSpPr>
            <p:sp>
              <p:nvSpPr>
                <p:cNvPr id="7" name="Right Triangle 6">
                  <a:extLst>
                    <a:ext uri="{FF2B5EF4-FFF2-40B4-BE49-F238E27FC236}">
                      <a16:creationId xmlns:a16="http://schemas.microsoft.com/office/drawing/2014/main" id="{7213FD17-6CC8-88D9-A27D-130DDA386608}"/>
                    </a:ext>
                  </a:extLst>
                </p:cNvPr>
                <p:cNvSpPr/>
                <p:nvPr/>
              </p:nvSpPr>
              <p:spPr>
                <a:xfrm rot="10800000">
                  <a:off x="716915" y="1897705"/>
                  <a:ext cx="473691" cy="4127357"/>
                </a:xfrm>
                <a:prstGeom prst="rtTriangle">
                  <a:avLst/>
                </a:prstGeom>
                <a:gradFill flip="none" rotWithShape="1">
                  <a:gsLst>
                    <a:gs pos="0">
                      <a:schemeClr val="accent5">
                        <a:tint val="66000"/>
                        <a:satMod val="160000"/>
                      </a:schemeClr>
                    </a:gs>
                    <a:gs pos="50000">
                      <a:schemeClr val="accent5">
                        <a:tint val="44500"/>
                        <a:satMod val="160000"/>
                      </a:schemeClr>
                    </a:gs>
                    <a:gs pos="100000">
                      <a:schemeClr val="accent5">
                        <a:tint val="23500"/>
                        <a:satMod val="16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8A9DA97F-FCEF-2772-1D2F-50375195B113}"/>
                    </a:ext>
                  </a:extLst>
                </p:cNvPr>
                <p:cNvSpPr txBox="1"/>
                <p:nvPr/>
              </p:nvSpPr>
              <p:spPr>
                <a:xfrm>
                  <a:off x="735831" y="5756167"/>
                  <a:ext cx="128016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400" b="1" dirty="0"/>
                    <a:t>Low</a:t>
                  </a:r>
                </a:p>
              </p:txBody>
            </p:sp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A0A22155-C2A4-0549-D550-D4C9F027D2F7}"/>
                    </a:ext>
                  </a:extLst>
                </p:cNvPr>
                <p:cNvSpPr txBox="1"/>
                <p:nvPr/>
              </p:nvSpPr>
              <p:spPr>
                <a:xfrm>
                  <a:off x="686136" y="1897707"/>
                  <a:ext cx="128016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400" b="1" dirty="0"/>
                    <a:t>High</a:t>
                  </a:r>
                </a:p>
              </p:txBody>
            </p:sp>
          </p:grpSp>
          <p:graphicFrame>
            <p:nvGraphicFramePr>
              <p:cNvPr id="6" name="Chart 5">
                <a:extLst>
                  <a:ext uri="{FF2B5EF4-FFF2-40B4-BE49-F238E27FC236}">
                    <a16:creationId xmlns:a16="http://schemas.microsoft.com/office/drawing/2014/main" id="{C471BB9C-6017-5FB6-CCBF-6005529A0C91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409562477"/>
                  </p:ext>
                </p:extLst>
              </p:nvPr>
            </p:nvGraphicFramePr>
            <p:xfrm>
              <a:off x="1100667" y="1643208"/>
              <a:ext cx="9872357" cy="513079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</p:grp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0CA992FA-69EE-C065-B890-F84AC32690EC}"/>
                </a:ext>
              </a:extLst>
            </p:cNvPr>
            <p:cNvCxnSpPr/>
            <p:nvPr/>
          </p:nvCxnSpPr>
          <p:spPr>
            <a:xfrm>
              <a:off x="1371600" y="1882470"/>
              <a:ext cx="0" cy="424401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7182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7CBBC0-9F00-9FA4-556C-18E2A63BFD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4">
            <a:extLst>
              <a:ext uri="{FF2B5EF4-FFF2-40B4-BE49-F238E27FC236}">
                <a16:creationId xmlns:a16="http://schemas.microsoft.com/office/drawing/2014/main" id="{E0C8AB11-E81D-5C4D-05CF-A2251508E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9600" y="367200"/>
            <a:ext cx="10123200" cy="979200"/>
          </a:xfrm>
        </p:spPr>
        <p:txBody>
          <a:bodyPr vert="horz" anchor="b" anchorCtr="0"/>
          <a:lstStyle/>
          <a:p>
            <a:r>
              <a:rPr lang="en-GB" sz="3200" dirty="0"/>
              <a:t>TARGET Market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624608F7-98D6-3E4D-F751-32C5650C8CFC}"/>
              </a:ext>
            </a:extLst>
          </p:cNvPr>
          <p:cNvSpPr txBox="1">
            <a:spLocks/>
          </p:cNvSpPr>
          <p:nvPr/>
        </p:nvSpPr>
        <p:spPr>
          <a:xfrm>
            <a:off x="716250" y="5591371"/>
            <a:ext cx="5112000" cy="92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Tx/>
              <a:buNone/>
              <a:defRPr sz="2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Tx/>
              <a:buNone/>
              <a:defRPr sz="2200" b="0" i="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Tx/>
              <a:buNone/>
              <a:defRPr sz="2000" b="0" i="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Tx/>
              <a:buNone/>
              <a:defRPr sz="1800" b="0" i="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Tx/>
              <a:buNone/>
              <a:defRPr sz="1800" b="0" i="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 i="1" dirty="0"/>
              <a:t>Africa’s Music Streaming market is projected to grow 3x by 2030, with local genres underserved (Afrobeats, </a:t>
            </a:r>
            <a:r>
              <a:rPr lang="en-US" sz="1800" i="1" dirty="0" err="1"/>
              <a:t>Amapiano</a:t>
            </a:r>
            <a:r>
              <a:rPr lang="en-US" sz="1800" i="1" dirty="0"/>
              <a:t>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EEE9137-A581-6A60-A644-15BA4F78A05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51" t="6639" r="11285" b="6349"/>
          <a:stretch/>
        </p:blipFill>
        <p:spPr>
          <a:xfrm>
            <a:off x="1832250" y="1760689"/>
            <a:ext cx="2880000" cy="2883259"/>
          </a:xfrm>
          <a:prstGeom prst="ellipse">
            <a:avLst/>
          </a:prstGeom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6EE2781-0B56-8736-5C47-4B325A27C92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286" t="38200" r="14073"/>
          <a:stretch/>
        </p:blipFill>
        <p:spPr>
          <a:xfrm>
            <a:off x="7310062" y="1763948"/>
            <a:ext cx="2880000" cy="2880000"/>
          </a:xfrm>
          <a:prstGeom prst="ellipse">
            <a:avLst/>
          </a:prstGeom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4EFE0C6-55C8-F982-B42C-22BF61424379}"/>
              </a:ext>
            </a:extLst>
          </p:cNvPr>
          <p:cNvSpPr txBox="1"/>
          <p:nvPr/>
        </p:nvSpPr>
        <p:spPr>
          <a:xfrm>
            <a:off x="1189808" y="4725575"/>
            <a:ext cx="4164885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Africa</a:t>
            </a:r>
          </a:p>
          <a:p>
            <a:pPr algn="ctr"/>
            <a:r>
              <a:rPr lang="en-US" sz="1400" dirty="0"/>
              <a:t>South Africa, Nigeria, Kenya, Uganda, Tanzania, DRC, Ghana, Seneg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DB8E4D-2549-9A14-AFF3-4808AD4FA0A5}"/>
              </a:ext>
            </a:extLst>
          </p:cNvPr>
          <p:cNvSpPr txBox="1"/>
          <p:nvPr/>
        </p:nvSpPr>
        <p:spPr>
          <a:xfrm>
            <a:off x="8193474" y="4832772"/>
            <a:ext cx="11131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India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F5EB450-B7B6-95FA-F607-D582BB415E69}"/>
              </a:ext>
            </a:extLst>
          </p:cNvPr>
          <p:cNvSpPr txBox="1"/>
          <p:nvPr/>
        </p:nvSpPr>
        <p:spPr>
          <a:xfrm>
            <a:off x="6194062" y="5525794"/>
            <a:ext cx="51120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i="1" dirty="0"/>
              <a:t>India alone has 200m+ music streamers but foreign music streaming services have struggled to localize beyond “Indian” as a genre </a:t>
            </a:r>
          </a:p>
        </p:txBody>
      </p:sp>
    </p:spTree>
    <p:extLst>
      <p:ext uri="{BB962C8B-B14F-4D97-AF65-F5344CB8AC3E}">
        <p14:creationId xmlns:p14="http://schemas.microsoft.com/office/powerpoint/2010/main" val="5651984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71F49E-DD8A-CFA1-BADD-FA39231439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4">
            <a:extLst>
              <a:ext uri="{FF2B5EF4-FFF2-40B4-BE49-F238E27FC236}">
                <a16:creationId xmlns:a16="http://schemas.microsoft.com/office/drawing/2014/main" id="{B0C711E6-BC98-101B-2B34-B22A3A9278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9600" y="367200"/>
            <a:ext cx="10123200" cy="979200"/>
          </a:xfrm>
        </p:spPr>
        <p:txBody>
          <a:bodyPr vert="horz" anchor="b" anchorCtr="0"/>
          <a:lstStyle/>
          <a:p>
            <a:r>
              <a:rPr lang="en-GB" sz="3200" dirty="0"/>
              <a:t>Market Validation</a:t>
            </a:r>
          </a:p>
        </p:txBody>
      </p:sp>
      <p:pic>
        <p:nvPicPr>
          <p:cNvPr id="2" name="Picture 4" descr="Binoculars Coloring Clipart Transparent PNG Hd, A Pair Of Grey Binoculars  Vector Or Color Illustration, Vision, Tool, Optical PNG Image For Free  Download">
            <a:extLst>
              <a:ext uri="{FF2B5EF4-FFF2-40B4-BE49-F238E27FC236}">
                <a16:creationId xmlns:a16="http://schemas.microsoft.com/office/drawing/2014/main" id="{E8D27BB6-E62C-4D76-A1F9-D57361328B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6">
                <a:tint val="45000"/>
                <a:satMod val="400000"/>
              </a:schemeClr>
            </a:duotone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23" y="1849970"/>
            <a:ext cx="6261100" cy="45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E0C15F4E-8412-93AA-B8AC-68C14E314042}"/>
              </a:ext>
            </a:extLst>
          </p:cNvPr>
          <p:cNvSpPr txBox="1">
            <a:spLocks/>
          </p:cNvSpPr>
          <p:nvPr/>
        </p:nvSpPr>
        <p:spPr>
          <a:xfrm>
            <a:off x="847382" y="1642210"/>
            <a:ext cx="4328467" cy="43072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Tx/>
              <a:buNone/>
              <a:defRPr sz="2000" b="0" i="0" kern="1200">
                <a:solidFill>
                  <a:schemeClr val="tx1">
                    <a:tint val="75000"/>
                  </a:schemeClr>
                </a:solidFill>
                <a:latin typeface="Avenir Next LT Pro" panose="020B0504020202020204" pitchFamily="34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Tx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Avenir Next LT Pro" panose="020B0504020202020204" pitchFamily="34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Tx/>
              <a:buNone/>
              <a:defRPr sz="1600" b="0" i="0" kern="1200">
                <a:solidFill>
                  <a:schemeClr val="tx1">
                    <a:tint val="75000"/>
                  </a:schemeClr>
                </a:solidFill>
                <a:latin typeface="Avenir Next LT Pro" panose="020B0504020202020204" pitchFamily="34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Tx/>
              <a:buNone/>
              <a:defRPr sz="1600" b="0" i="0" kern="1200">
                <a:solidFill>
                  <a:schemeClr val="tx1">
                    <a:tint val="75000"/>
                  </a:schemeClr>
                </a:solidFill>
                <a:latin typeface="Avenir Next LT Pro" panose="020B0504020202020204" pitchFamily="34" charset="77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Why these market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High mobile penetration (80% smartphone adoption by 2030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/>
              <a:t>Large population of young listeners (18-35) with strong demand for local &amp; regional music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Low-cost ad-supported models thrive  - very price sensitive marke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I-based curation helps overcome language and cultural barriers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794300F-A53A-9733-9DD8-D72BA05263AD}"/>
              </a:ext>
            </a:extLst>
          </p:cNvPr>
          <p:cNvSpPr txBox="1"/>
          <p:nvPr/>
        </p:nvSpPr>
        <p:spPr>
          <a:xfrm>
            <a:off x="5726837" y="1642211"/>
            <a:ext cx="5914177" cy="39472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ZA" sz="1600" b="1" dirty="0"/>
              <a:t>Market Considerations</a:t>
            </a:r>
          </a:p>
          <a:p>
            <a:pPr marL="285750" indent="-285750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ZA" sz="1600" dirty="0"/>
              <a:t>Affordability Constraints:</a:t>
            </a:r>
          </a:p>
          <a:p>
            <a:pPr marL="742950" lvl="2" indent="-285750">
              <a:lnSpc>
                <a:spcPct val="120000"/>
              </a:lnSpc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ZA" sz="1600" dirty="0"/>
              <a:t>Nigeria: Min wage ≈ $46/month → Ideal price: $0.50 - $1/month</a:t>
            </a:r>
          </a:p>
          <a:p>
            <a:pPr marL="742950" lvl="2" indent="-285750">
              <a:lnSpc>
                <a:spcPct val="120000"/>
              </a:lnSpc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ZA" sz="1600" dirty="0"/>
              <a:t>India: </a:t>
            </a:r>
            <a:r>
              <a:rPr lang="en-ZA" sz="1600" dirty="0" err="1"/>
              <a:t>JioSaavn</a:t>
            </a:r>
            <a:r>
              <a:rPr lang="en-ZA" sz="1600" dirty="0"/>
              <a:t> &amp; </a:t>
            </a:r>
            <a:r>
              <a:rPr lang="en-ZA" sz="1600" dirty="0" err="1"/>
              <a:t>Gaana</a:t>
            </a:r>
            <a:r>
              <a:rPr lang="en-ZA" sz="1600" dirty="0"/>
              <a:t> charge ±$1/month</a:t>
            </a:r>
          </a:p>
          <a:p>
            <a:pPr marL="742950" lvl="2" indent="-285750">
              <a:lnSpc>
                <a:spcPct val="120000"/>
              </a:lnSpc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ZA" sz="1600" dirty="0"/>
              <a:t>South Africa &amp; Kenya: Can handle $1.50/month, but still price-sensitive</a:t>
            </a:r>
          </a:p>
          <a:p>
            <a:pPr marL="285750" indent="-285750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ZA" sz="1600" dirty="0"/>
              <a:t>Payment Infrastructure Challenges:</a:t>
            </a:r>
          </a:p>
          <a:p>
            <a:pPr marL="742950" lvl="2" indent="-285750">
              <a:lnSpc>
                <a:spcPct val="120000"/>
              </a:lnSpc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ZA" sz="1600" dirty="0"/>
              <a:t>Credit card penetration is low (5.5%), so in-app purchases via Google Pay or UPI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A4B0E00-4A4E-AB7B-5D59-BADEA30B212B}"/>
              </a:ext>
            </a:extLst>
          </p:cNvPr>
          <p:cNvSpPr/>
          <p:nvPr/>
        </p:nvSpPr>
        <p:spPr>
          <a:xfrm>
            <a:off x="5371554" y="1642211"/>
            <a:ext cx="45719" cy="4987518"/>
          </a:xfrm>
          <a:prstGeom prst="rect">
            <a:avLst/>
          </a:prstGeom>
          <a:gradFill flip="none" rotWithShape="1">
            <a:gsLst>
              <a:gs pos="0">
                <a:schemeClr val="accent5">
                  <a:shade val="30000"/>
                  <a:satMod val="115000"/>
                </a:schemeClr>
              </a:gs>
              <a:gs pos="50000">
                <a:schemeClr val="accent5">
                  <a:shade val="67500"/>
                  <a:satMod val="115000"/>
                </a:schemeClr>
              </a:gs>
              <a:gs pos="100000">
                <a:schemeClr val="accent5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62882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target Vector Icons free download in SVG, PNG Format">
            <a:extLst>
              <a:ext uri="{FF2B5EF4-FFF2-40B4-BE49-F238E27FC236}">
                <a16:creationId xmlns:a16="http://schemas.microsoft.com/office/drawing/2014/main" id="{DDBB2D23-3023-7152-42A1-76643B8EE5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446" y="2785183"/>
            <a:ext cx="1782693" cy="1782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4">
            <a:extLst>
              <a:ext uri="{FF2B5EF4-FFF2-40B4-BE49-F238E27FC236}">
                <a16:creationId xmlns:a16="http://schemas.microsoft.com/office/drawing/2014/main" id="{79719308-52BB-05FA-EBDC-D7697E552C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9600" y="367200"/>
            <a:ext cx="10123200" cy="979200"/>
          </a:xfrm>
        </p:spPr>
        <p:txBody>
          <a:bodyPr vert="horz" anchor="b" anchorCtr="0"/>
          <a:lstStyle/>
          <a:p>
            <a:r>
              <a:rPr lang="en-GB" sz="3200" dirty="0"/>
              <a:t>problem statemen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F9F40E4-B3DE-9C83-8BBC-CE8DE0CD82DE}"/>
              </a:ext>
            </a:extLst>
          </p:cNvPr>
          <p:cNvSpPr txBox="1"/>
          <p:nvPr/>
        </p:nvSpPr>
        <p:spPr>
          <a:xfrm>
            <a:off x="2569580" y="2960882"/>
            <a:ext cx="8737984" cy="1384995"/>
          </a:xfrm>
          <a:prstGeom prst="rect">
            <a:avLst/>
          </a:prstGeom>
          <a:solidFill>
            <a:srgbClr val="F2F2F2">
              <a:alpha val="76078"/>
            </a:srgbClr>
          </a:solidFill>
        </p:spPr>
        <p:txBody>
          <a:bodyPr wrap="square">
            <a:spAutoFit/>
          </a:bodyPr>
          <a:lstStyle/>
          <a:p>
            <a:r>
              <a:rPr lang="en-US" sz="2800" b="1" dirty="0"/>
              <a:t>How can we enhance the music streaming experience by providing recommendations that cater to individual preferences?</a:t>
            </a:r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36822633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199AF06-84B5-7014-2B5A-2DA899403F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99AF06-84B5-7014-2B5A-2DA899403F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F4A2AD00-5403-4574-EC59-43A09C293B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9600" y="367200"/>
            <a:ext cx="10123200" cy="979200"/>
          </a:xfrm>
        </p:spPr>
        <p:txBody>
          <a:bodyPr vert="horz"/>
          <a:lstStyle/>
          <a:p>
            <a:r>
              <a:rPr lang="en-GB" dirty="0"/>
              <a:t>Streaming Market Overview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9E31C08-8D44-FB30-CC13-A96D237A8091}"/>
              </a:ext>
            </a:extLst>
          </p:cNvPr>
          <p:cNvGrpSpPr/>
          <p:nvPr/>
        </p:nvGrpSpPr>
        <p:grpSpPr>
          <a:xfrm>
            <a:off x="256485" y="1594015"/>
            <a:ext cx="5202545" cy="3838368"/>
            <a:chOff x="1008126" y="1666875"/>
            <a:chExt cx="6688724" cy="4523426"/>
          </a:xfrm>
        </p:grpSpPr>
        <p:graphicFrame>
          <p:nvGraphicFramePr>
            <p:cNvPr id="21" name="Chart 20">
              <a:extLst>
                <a:ext uri="{FF2B5EF4-FFF2-40B4-BE49-F238E27FC236}">
                  <a16:creationId xmlns:a16="http://schemas.microsoft.com/office/drawing/2014/main" id="{96B3A07F-2977-E4A5-F2A3-42885A43527C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867705505"/>
                </p:ext>
              </p:extLst>
            </p:nvPr>
          </p:nvGraphicFramePr>
          <p:xfrm>
            <a:off x="1008126" y="1666875"/>
            <a:ext cx="6688724" cy="452342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pic>
          <p:nvPicPr>
            <p:cNvPr id="22" name="Picture 2" descr="Top 10 Klassieke muziek apps – Classics To Go">
              <a:extLst>
                <a:ext uri="{FF2B5EF4-FFF2-40B4-BE49-F238E27FC236}">
                  <a16:creationId xmlns:a16="http://schemas.microsoft.com/office/drawing/2014/main" id="{230733A7-76ED-8C4A-24FE-8F228EB03C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0189" y="2880268"/>
              <a:ext cx="324000" cy="3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4" descr="Tencent Music logo in transparent PNG format">
              <a:extLst>
                <a:ext uri="{FF2B5EF4-FFF2-40B4-BE49-F238E27FC236}">
                  <a16:creationId xmlns:a16="http://schemas.microsoft.com/office/drawing/2014/main" id="{FEE77837-FD71-784E-842F-D31082050D1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71135" y="5440570"/>
              <a:ext cx="570467" cy="2067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6" descr="Apple Music Logo PNG Images (Transparent HD Photo Clipart)">
              <a:extLst>
                <a:ext uri="{FF2B5EF4-FFF2-40B4-BE49-F238E27FC236}">
                  <a16:creationId xmlns:a16="http://schemas.microsoft.com/office/drawing/2014/main" id="{B3160342-32FD-59AE-AE97-062F372593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78800" y="5864956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8" descr="Amazon Music - YouTube">
              <a:extLst>
                <a:ext uri="{FF2B5EF4-FFF2-40B4-BE49-F238E27FC236}">
                  <a16:creationId xmlns:a16="http://schemas.microsoft.com/office/drawing/2014/main" id="{4E22A212-49DC-2B38-8C27-70DAAF5E5D0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03596" y="5304946"/>
              <a:ext cx="357857" cy="3578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10" descr="YouTube Music Logo, symbol, meaning, history, PNG, brand">
              <a:extLst>
                <a:ext uri="{FF2B5EF4-FFF2-40B4-BE49-F238E27FC236}">
                  <a16:creationId xmlns:a16="http://schemas.microsoft.com/office/drawing/2014/main" id="{E8319B0B-99FD-8C5A-C865-CD3392B922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9144" y="4057371"/>
              <a:ext cx="675326" cy="3798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12" descr="NetEase Logo - LogoDix">
              <a:extLst>
                <a:ext uri="{FF2B5EF4-FFF2-40B4-BE49-F238E27FC236}">
                  <a16:creationId xmlns:a16="http://schemas.microsoft.com/office/drawing/2014/main" id="{1B580F8C-9A36-92C4-F4AA-F6F2FD7F7F6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09008" y="3204268"/>
              <a:ext cx="294588" cy="2945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18" descr="Yandex Music Logo PNG Vector (SVG) Free Download">
              <a:extLst>
                <a:ext uri="{FF2B5EF4-FFF2-40B4-BE49-F238E27FC236}">
                  <a16:creationId xmlns:a16="http://schemas.microsoft.com/office/drawing/2014/main" id="{D76CE5C4-47B4-5E5A-DFD5-E709F632059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24232" y="2705124"/>
              <a:ext cx="265698" cy="324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0" descr="Deezer Logo, symbol, meaning, history, PNG, brand">
              <a:extLst>
                <a:ext uri="{FF2B5EF4-FFF2-40B4-BE49-F238E27FC236}">
                  <a16:creationId xmlns:a16="http://schemas.microsoft.com/office/drawing/2014/main" id="{077E659B-22F1-ED61-2761-4BAC704724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67719" y="2391981"/>
              <a:ext cx="565012" cy="3170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F01D46E1-2700-5932-9424-BD68943D4A7E}"/>
              </a:ext>
            </a:extLst>
          </p:cNvPr>
          <p:cNvSpPr txBox="1"/>
          <p:nvPr/>
        </p:nvSpPr>
        <p:spPr>
          <a:xfrm>
            <a:off x="6527914" y="2382978"/>
            <a:ext cx="5026689" cy="33239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dirty="0" err="1"/>
              <a:t>GenZ</a:t>
            </a:r>
            <a:r>
              <a:rPr lang="en-GB" sz="1800" dirty="0"/>
              <a:t> and </a:t>
            </a:r>
            <a:r>
              <a:rPr lang="en-GB" sz="1800" dirty="0" err="1"/>
              <a:t>Millenials</a:t>
            </a:r>
            <a:r>
              <a:rPr lang="en-GB" sz="1800" dirty="0"/>
              <a:t> spend the most on audio media and crave social, viral, and AI personalised music experiences </a:t>
            </a:r>
            <a:endParaRPr lang="en-GB" dirty="0"/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/>
              <a:t>Consumers expect an emotionally engaging and immersive listening experience vs genre-based consumption</a:t>
            </a: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Generative AI is creating opportunity for content creation (audio, video, lyrics)</a:t>
            </a:r>
          </a:p>
          <a:p>
            <a:pPr>
              <a:spcAft>
                <a:spcPts val="1200"/>
              </a:spcAft>
            </a:pPr>
            <a:endParaRPr lang="en-GB" dirty="0"/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GB" dirty="0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65707AF-AAB1-27AF-2962-1854FE9D4509}"/>
              </a:ext>
            </a:extLst>
          </p:cNvPr>
          <p:cNvGrpSpPr/>
          <p:nvPr/>
        </p:nvGrpSpPr>
        <p:grpSpPr>
          <a:xfrm>
            <a:off x="260127" y="5529298"/>
            <a:ext cx="11327506" cy="1282537"/>
            <a:chOff x="260127" y="5460023"/>
            <a:chExt cx="11327506" cy="1282537"/>
          </a:xfrm>
        </p:grpSpPr>
        <p:sp>
          <p:nvSpPr>
            <p:cNvPr id="39" name="Snip and Round Single Corner of Rectangle 38">
              <a:extLst>
                <a:ext uri="{FF2B5EF4-FFF2-40B4-BE49-F238E27FC236}">
                  <a16:creationId xmlns:a16="http://schemas.microsoft.com/office/drawing/2014/main" id="{94DBD40A-C750-493C-8B4A-E6EC69683231}"/>
                </a:ext>
              </a:extLst>
            </p:cNvPr>
            <p:cNvSpPr/>
            <p:nvPr/>
          </p:nvSpPr>
          <p:spPr>
            <a:xfrm>
              <a:off x="260127" y="5460023"/>
              <a:ext cx="2745623" cy="294973"/>
            </a:xfrm>
            <a:prstGeom prst="snipRoundRect">
              <a:avLst/>
            </a:prstGeom>
            <a:solidFill>
              <a:srgbClr val="EBE903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tx1"/>
                  </a:solidFill>
                </a:rPr>
                <a:t>Pain Points</a:t>
              </a:r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D58A3100-BDAE-BED0-0F14-A55A15E7D4B9}"/>
                </a:ext>
              </a:extLst>
            </p:cNvPr>
            <p:cNvGrpSpPr/>
            <p:nvPr/>
          </p:nvGrpSpPr>
          <p:grpSpPr>
            <a:xfrm>
              <a:off x="260127" y="5724099"/>
              <a:ext cx="11327506" cy="1018461"/>
              <a:chOff x="260127" y="5690233"/>
              <a:chExt cx="11327506" cy="1018461"/>
            </a:xfrm>
          </p:grpSpPr>
          <p:sp>
            <p:nvSpPr>
              <p:cNvPr id="37" name="Rounded Rectangle 36">
                <a:extLst>
                  <a:ext uri="{FF2B5EF4-FFF2-40B4-BE49-F238E27FC236}">
                    <a16:creationId xmlns:a16="http://schemas.microsoft.com/office/drawing/2014/main" id="{9F34DDF4-3084-2BC4-17BA-4958FADA8979}"/>
                  </a:ext>
                </a:extLst>
              </p:cNvPr>
              <p:cNvSpPr/>
              <p:nvPr/>
            </p:nvSpPr>
            <p:spPr>
              <a:xfrm>
                <a:off x="260127" y="5690233"/>
                <a:ext cx="11327506" cy="1018461"/>
              </a:xfrm>
              <a:prstGeom prst="roundRect">
                <a:avLst>
                  <a:gd name="adj" fmla="val 5353"/>
                </a:avLst>
              </a:prstGeom>
              <a:solidFill>
                <a:srgbClr val="F8F8F8">
                  <a:alpha val="78824"/>
                </a:srgbClr>
              </a:solidFill>
              <a:ln w="6350">
                <a:solidFill>
                  <a:schemeClr val="accent5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8C53F6AD-C1F0-1400-E3B5-E1354E5064E1}"/>
                  </a:ext>
                </a:extLst>
              </p:cNvPr>
              <p:cNvGrpSpPr/>
              <p:nvPr/>
            </p:nvGrpSpPr>
            <p:grpSpPr>
              <a:xfrm>
                <a:off x="569939" y="5863051"/>
                <a:ext cx="10681238" cy="672824"/>
                <a:chOff x="6666075" y="4731590"/>
                <a:chExt cx="7356884" cy="672824"/>
              </a:xfrm>
            </p:grpSpPr>
            <p:sp>
              <p:nvSpPr>
                <p:cNvPr id="12" name="Freeform 11">
                  <a:extLst>
                    <a:ext uri="{FF2B5EF4-FFF2-40B4-BE49-F238E27FC236}">
                      <a16:creationId xmlns:a16="http://schemas.microsoft.com/office/drawing/2014/main" id="{E4C7742B-DA5F-DDEB-7DFB-19B03F3D80FF}"/>
                    </a:ext>
                  </a:extLst>
                </p:cNvPr>
                <p:cNvSpPr/>
                <p:nvPr/>
              </p:nvSpPr>
              <p:spPr>
                <a:xfrm>
                  <a:off x="6666075" y="4731590"/>
                  <a:ext cx="1356862" cy="672824"/>
                </a:xfrm>
                <a:custGeom>
                  <a:avLst/>
                  <a:gdLst>
                    <a:gd name="connsiteX0" fmla="*/ 0 w 1121373"/>
                    <a:gd name="connsiteY0" fmla="*/ 0 h 672824"/>
                    <a:gd name="connsiteX1" fmla="*/ 1121373 w 1121373"/>
                    <a:gd name="connsiteY1" fmla="*/ 0 h 672824"/>
                    <a:gd name="connsiteX2" fmla="*/ 1121373 w 1121373"/>
                    <a:gd name="connsiteY2" fmla="*/ 672824 h 672824"/>
                    <a:gd name="connsiteX3" fmla="*/ 0 w 1121373"/>
                    <a:gd name="connsiteY3" fmla="*/ 672824 h 672824"/>
                    <a:gd name="connsiteX4" fmla="*/ 0 w 1121373"/>
                    <a:gd name="connsiteY4" fmla="*/ 0 h 6728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21373" h="672824">
                      <a:moveTo>
                        <a:pt x="0" y="0"/>
                      </a:moveTo>
                      <a:lnTo>
                        <a:pt x="1121373" y="0"/>
                      </a:lnTo>
                      <a:lnTo>
                        <a:pt x="1121373" y="672824"/>
                      </a:lnTo>
                      <a:lnTo>
                        <a:pt x="0" y="6728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7030A0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53340" tIns="53340" rIns="53340" bIns="53340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Font typeface="Arial" panose="020B0604020202020204" pitchFamily="34" charset="0"/>
                    <a:buNone/>
                  </a:pPr>
                  <a:r>
                    <a:rPr lang="en-GB" sz="1400" b="1" kern="1200" dirty="0"/>
                    <a:t>Repetitive Recommendations</a:t>
                  </a:r>
                </a:p>
              </p:txBody>
            </p:sp>
            <p:sp>
              <p:nvSpPr>
                <p:cNvPr id="13" name="Freeform 12">
                  <a:extLst>
                    <a:ext uri="{FF2B5EF4-FFF2-40B4-BE49-F238E27FC236}">
                      <a16:creationId xmlns:a16="http://schemas.microsoft.com/office/drawing/2014/main" id="{E45DACCA-6686-A2C6-926F-AEBEFDBAD74E}"/>
                    </a:ext>
                  </a:extLst>
                </p:cNvPr>
                <p:cNvSpPr/>
                <p:nvPr/>
              </p:nvSpPr>
              <p:spPr>
                <a:xfrm>
                  <a:off x="8166080" y="4731590"/>
                  <a:ext cx="1356862" cy="672824"/>
                </a:xfrm>
                <a:custGeom>
                  <a:avLst/>
                  <a:gdLst>
                    <a:gd name="connsiteX0" fmla="*/ 0 w 1121373"/>
                    <a:gd name="connsiteY0" fmla="*/ 0 h 672824"/>
                    <a:gd name="connsiteX1" fmla="*/ 1121373 w 1121373"/>
                    <a:gd name="connsiteY1" fmla="*/ 0 h 672824"/>
                    <a:gd name="connsiteX2" fmla="*/ 1121373 w 1121373"/>
                    <a:gd name="connsiteY2" fmla="*/ 672824 h 672824"/>
                    <a:gd name="connsiteX3" fmla="*/ 0 w 1121373"/>
                    <a:gd name="connsiteY3" fmla="*/ 672824 h 672824"/>
                    <a:gd name="connsiteX4" fmla="*/ 0 w 1121373"/>
                    <a:gd name="connsiteY4" fmla="*/ 0 h 6728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21373" h="672824">
                      <a:moveTo>
                        <a:pt x="0" y="0"/>
                      </a:moveTo>
                      <a:lnTo>
                        <a:pt x="1121373" y="0"/>
                      </a:lnTo>
                      <a:lnTo>
                        <a:pt x="1121373" y="672824"/>
                      </a:lnTo>
                      <a:lnTo>
                        <a:pt x="0" y="6728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B1F0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53340" tIns="53340" rIns="53340" bIns="53340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Font typeface="Arial" panose="020B0604020202020204" pitchFamily="34" charset="0"/>
                    <a:buNone/>
                  </a:pPr>
                  <a:r>
                    <a:rPr lang="en-GB" sz="1400" b="1" kern="1200" dirty="0"/>
                    <a:t>Generic Personalisation</a:t>
                  </a:r>
                </a:p>
              </p:txBody>
            </p:sp>
            <p:sp>
              <p:nvSpPr>
                <p:cNvPr id="14" name="Freeform 13">
                  <a:extLst>
                    <a:ext uri="{FF2B5EF4-FFF2-40B4-BE49-F238E27FC236}">
                      <a16:creationId xmlns:a16="http://schemas.microsoft.com/office/drawing/2014/main" id="{45EEC6AF-7F80-C40D-6E1D-3EE8BE246358}"/>
                    </a:ext>
                  </a:extLst>
                </p:cNvPr>
                <p:cNvSpPr/>
                <p:nvPr/>
              </p:nvSpPr>
              <p:spPr>
                <a:xfrm>
                  <a:off x="9666088" y="4731590"/>
                  <a:ext cx="1356862" cy="672824"/>
                </a:xfrm>
                <a:custGeom>
                  <a:avLst/>
                  <a:gdLst>
                    <a:gd name="connsiteX0" fmla="*/ 0 w 1121373"/>
                    <a:gd name="connsiteY0" fmla="*/ 0 h 672824"/>
                    <a:gd name="connsiteX1" fmla="*/ 1121373 w 1121373"/>
                    <a:gd name="connsiteY1" fmla="*/ 0 h 672824"/>
                    <a:gd name="connsiteX2" fmla="*/ 1121373 w 1121373"/>
                    <a:gd name="connsiteY2" fmla="*/ 672824 h 672824"/>
                    <a:gd name="connsiteX3" fmla="*/ 0 w 1121373"/>
                    <a:gd name="connsiteY3" fmla="*/ 672824 h 672824"/>
                    <a:gd name="connsiteX4" fmla="*/ 0 w 1121373"/>
                    <a:gd name="connsiteY4" fmla="*/ 0 h 6728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21373" h="672824">
                      <a:moveTo>
                        <a:pt x="0" y="0"/>
                      </a:moveTo>
                      <a:lnTo>
                        <a:pt x="1121373" y="0"/>
                      </a:lnTo>
                      <a:lnTo>
                        <a:pt x="1121373" y="672824"/>
                      </a:lnTo>
                      <a:lnTo>
                        <a:pt x="0" y="6728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CB8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53340" tIns="53340" rIns="53340" bIns="53340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Font typeface="Arial" panose="020B0604020202020204" pitchFamily="34" charset="0"/>
                    <a:buNone/>
                  </a:pPr>
                  <a:r>
                    <a:rPr lang="en-GB" sz="1400" b="1" kern="1200" dirty="0"/>
                    <a:t>Limited Localisation</a:t>
                  </a:r>
                </a:p>
              </p:txBody>
            </p:sp>
            <p:sp>
              <p:nvSpPr>
                <p:cNvPr id="15" name="Freeform 14">
                  <a:extLst>
                    <a:ext uri="{FF2B5EF4-FFF2-40B4-BE49-F238E27FC236}">
                      <a16:creationId xmlns:a16="http://schemas.microsoft.com/office/drawing/2014/main" id="{07CF977E-A1E8-0963-5BD6-25F294299AAF}"/>
                    </a:ext>
                  </a:extLst>
                </p:cNvPr>
                <p:cNvSpPr/>
                <p:nvPr/>
              </p:nvSpPr>
              <p:spPr>
                <a:xfrm>
                  <a:off x="11166092" y="4731590"/>
                  <a:ext cx="1356862" cy="672824"/>
                </a:xfrm>
                <a:custGeom>
                  <a:avLst/>
                  <a:gdLst>
                    <a:gd name="connsiteX0" fmla="*/ 0 w 1121373"/>
                    <a:gd name="connsiteY0" fmla="*/ 0 h 672824"/>
                    <a:gd name="connsiteX1" fmla="*/ 1121373 w 1121373"/>
                    <a:gd name="connsiteY1" fmla="*/ 0 h 672824"/>
                    <a:gd name="connsiteX2" fmla="*/ 1121373 w 1121373"/>
                    <a:gd name="connsiteY2" fmla="*/ 672824 h 672824"/>
                    <a:gd name="connsiteX3" fmla="*/ 0 w 1121373"/>
                    <a:gd name="connsiteY3" fmla="*/ 672824 h 672824"/>
                    <a:gd name="connsiteX4" fmla="*/ 0 w 1121373"/>
                    <a:gd name="connsiteY4" fmla="*/ 0 h 6728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21373" h="672824">
                      <a:moveTo>
                        <a:pt x="0" y="0"/>
                      </a:moveTo>
                      <a:lnTo>
                        <a:pt x="1121373" y="0"/>
                      </a:lnTo>
                      <a:lnTo>
                        <a:pt x="1121373" y="672824"/>
                      </a:lnTo>
                      <a:lnTo>
                        <a:pt x="0" y="6728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ED760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53340" tIns="53340" rIns="53340" bIns="53340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Font typeface="Arial" panose="020B0604020202020204" pitchFamily="34" charset="0"/>
                    <a:buNone/>
                  </a:pPr>
                  <a:r>
                    <a:rPr lang="en-GB" sz="1400" b="1" kern="1200" dirty="0"/>
                    <a:t>Human intervention for playlists</a:t>
                  </a:r>
                </a:p>
              </p:txBody>
            </p:sp>
            <p:sp>
              <p:nvSpPr>
                <p:cNvPr id="16" name="Freeform 15">
                  <a:extLst>
                    <a:ext uri="{FF2B5EF4-FFF2-40B4-BE49-F238E27FC236}">
                      <a16:creationId xmlns:a16="http://schemas.microsoft.com/office/drawing/2014/main" id="{BA7F2BA7-F0BC-291F-4E03-3B8EBA884EEC}"/>
                    </a:ext>
                  </a:extLst>
                </p:cNvPr>
                <p:cNvSpPr/>
                <p:nvPr/>
              </p:nvSpPr>
              <p:spPr>
                <a:xfrm>
                  <a:off x="12666097" y="4731590"/>
                  <a:ext cx="1356862" cy="672824"/>
                </a:xfrm>
                <a:custGeom>
                  <a:avLst/>
                  <a:gdLst>
                    <a:gd name="connsiteX0" fmla="*/ 0 w 1121373"/>
                    <a:gd name="connsiteY0" fmla="*/ 0 h 672824"/>
                    <a:gd name="connsiteX1" fmla="*/ 1121373 w 1121373"/>
                    <a:gd name="connsiteY1" fmla="*/ 0 h 672824"/>
                    <a:gd name="connsiteX2" fmla="*/ 1121373 w 1121373"/>
                    <a:gd name="connsiteY2" fmla="*/ 672824 h 672824"/>
                    <a:gd name="connsiteX3" fmla="*/ 0 w 1121373"/>
                    <a:gd name="connsiteY3" fmla="*/ 672824 h 672824"/>
                    <a:gd name="connsiteX4" fmla="*/ 0 w 1121373"/>
                    <a:gd name="connsiteY4" fmla="*/ 0 h 6728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21373" h="672824">
                      <a:moveTo>
                        <a:pt x="0" y="0"/>
                      </a:moveTo>
                      <a:lnTo>
                        <a:pt x="1121373" y="0"/>
                      </a:lnTo>
                      <a:lnTo>
                        <a:pt x="1121373" y="672824"/>
                      </a:lnTo>
                      <a:lnTo>
                        <a:pt x="0" y="6728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5D1DB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53340" tIns="53340" rIns="53340" bIns="53340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GB" sz="1400" b="1" kern="1200" dirty="0"/>
                    <a:t>Emerging market depth</a:t>
                  </a:r>
                </a:p>
              </p:txBody>
            </p:sp>
          </p:grpSp>
        </p:grp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402F0FD-0E5F-D6E4-A081-E91E74A99744}"/>
              </a:ext>
            </a:extLst>
          </p:cNvPr>
          <p:cNvGrpSpPr/>
          <p:nvPr/>
        </p:nvGrpSpPr>
        <p:grpSpPr>
          <a:xfrm>
            <a:off x="480446" y="1661425"/>
            <a:ext cx="11107187" cy="504000"/>
            <a:chOff x="480446" y="1758410"/>
            <a:chExt cx="11107187" cy="504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BFB38BE-EDDA-5147-B751-7A6C51762223}"/>
                </a:ext>
              </a:extLst>
            </p:cNvPr>
            <p:cNvSpPr/>
            <p:nvPr/>
          </p:nvSpPr>
          <p:spPr>
            <a:xfrm>
              <a:off x="480446" y="1864303"/>
              <a:ext cx="5202545" cy="292215"/>
            </a:xfrm>
            <a:prstGeom prst="rect">
              <a:avLst/>
            </a:prstGeom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/>
                <a:t>Market Share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C875990-5520-D1D9-0C2F-C92B25A077BB}"/>
                </a:ext>
              </a:extLst>
            </p:cNvPr>
            <p:cNvSpPr/>
            <p:nvPr/>
          </p:nvSpPr>
          <p:spPr>
            <a:xfrm>
              <a:off x="6527914" y="1864303"/>
              <a:ext cx="5059719" cy="292215"/>
            </a:xfrm>
            <a:prstGeom prst="rect">
              <a:avLst/>
            </a:prstGeom>
            <a:solidFill>
              <a:srgbClr val="0070C0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/>
                <a:t>Market Shifts</a:t>
              </a: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193DADD6-0E41-E7E0-DD84-92741559D84B}"/>
                </a:ext>
              </a:extLst>
            </p:cNvPr>
            <p:cNvGrpSpPr/>
            <p:nvPr/>
          </p:nvGrpSpPr>
          <p:grpSpPr>
            <a:xfrm>
              <a:off x="5839810" y="1758410"/>
              <a:ext cx="504000" cy="504000"/>
              <a:chOff x="5800395" y="1703229"/>
              <a:chExt cx="504000" cy="504000"/>
            </a:xfrm>
          </p:grpSpPr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63C6AB9E-10F1-B4D2-3205-2948D29898E5}"/>
                  </a:ext>
                </a:extLst>
              </p:cNvPr>
              <p:cNvSpPr/>
              <p:nvPr/>
            </p:nvSpPr>
            <p:spPr>
              <a:xfrm>
                <a:off x="5800395" y="1703229"/>
                <a:ext cx="504000" cy="504000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54223D37-7A0C-C33F-76D0-99D3A9023B0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016707" y="1776261"/>
                <a:ext cx="150206" cy="375735"/>
                <a:chOff x="6182498" y="1771066"/>
                <a:chExt cx="156290" cy="490884"/>
              </a:xfrm>
            </p:grpSpPr>
            <p:sp>
              <p:nvSpPr>
                <p:cNvPr id="18" name="Triangle 17">
                  <a:extLst>
                    <a:ext uri="{FF2B5EF4-FFF2-40B4-BE49-F238E27FC236}">
                      <a16:creationId xmlns:a16="http://schemas.microsoft.com/office/drawing/2014/main" id="{C0F9D08C-5B20-EF74-C1A9-32EC67769747}"/>
                    </a:ext>
                  </a:extLst>
                </p:cNvPr>
                <p:cNvSpPr/>
                <p:nvPr/>
              </p:nvSpPr>
              <p:spPr>
                <a:xfrm rot="5400000">
                  <a:off x="6077946" y="1958510"/>
                  <a:ext cx="405689" cy="115995"/>
                </a:xfrm>
                <a:prstGeom prst="triangle">
                  <a:avLst/>
                </a:prstGeom>
                <a:solidFill>
                  <a:schemeClr val="accent6"/>
                </a:solidFill>
                <a:ln w="635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4" name="Triangle 33">
                  <a:extLst>
                    <a:ext uri="{FF2B5EF4-FFF2-40B4-BE49-F238E27FC236}">
                      <a16:creationId xmlns:a16="http://schemas.microsoft.com/office/drawing/2014/main" id="{200B158C-CF8A-2B28-F3D5-94B272822C56}"/>
                    </a:ext>
                  </a:extLst>
                </p:cNvPr>
                <p:cNvSpPr/>
                <p:nvPr/>
              </p:nvSpPr>
              <p:spPr>
                <a:xfrm rot="5400000">
                  <a:off x="5995055" y="1958509"/>
                  <a:ext cx="490884" cy="115997"/>
                </a:xfrm>
                <a:prstGeom prst="triangle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635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</p:grpSp>
      </p:grpSp>
      <p:pic>
        <p:nvPicPr>
          <p:cNvPr id="1026" name="Picture 2" descr="Pain Point icons for free download | Freepik">
            <a:extLst>
              <a:ext uri="{FF2B5EF4-FFF2-40B4-BE49-F238E27FC236}">
                <a16:creationId xmlns:a16="http://schemas.microsoft.com/office/drawing/2014/main" id="{EB61F232-BFBD-C602-69CF-2926914323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4074317" flipH="1">
            <a:off x="189640" y="5311239"/>
            <a:ext cx="603280" cy="603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48540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A789422-4E60-1B1D-2E48-462FBA32AA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789422-4E60-1B1D-2E48-462FBA32AA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2CD3C5A-CEA8-6DDC-B3F1-41D07C4FA7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3408" y="1325880"/>
            <a:ext cx="5093208" cy="2816352"/>
          </a:xfrm>
        </p:spPr>
        <p:txBody>
          <a:bodyPr vert="horz"/>
          <a:lstStyle/>
          <a:p>
            <a:r>
              <a:rPr lang="en-US" sz="4000" dirty="0"/>
              <a:t>APP OVERVIEW</a:t>
            </a:r>
          </a:p>
        </p:txBody>
      </p:sp>
    </p:spTree>
    <p:extLst>
      <p:ext uri="{BB962C8B-B14F-4D97-AF65-F5344CB8AC3E}">
        <p14:creationId xmlns:p14="http://schemas.microsoft.com/office/powerpoint/2010/main" val="42736747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4">
            <a:extLst>
              <a:ext uri="{FF2B5EF4-FFF2-40B4-BE49-F238E27FC236}">
                <a16:creationId xmlns:a16="http://schemas.microsoft.com/office/drawing/2014/main" id="{79719308-52BB-05FA-EBDC-D7697E552C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9600" y="367200"/>
            <a:ext cx="10123200" cy="979200"/>
          </a:xfrm>
        </p:spPr>
        <p:txBody>
          <a:bodyPr vert="horz" anchor="b" anchorCtr="0"/>
          <a:lstStyle/>
          <a:p>
            <a:r>
              <a:rPr lang="en-GB" sz="3200" dirty="0" err="1"/>
              <a:t>songfox</a:t>
            </a:r>
            <a:endParaRPr lang="en-GB" sz="3200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5AF8992-E130-54BA-8614-A734702A1B3A}"/>
              </a:ext>
            </a:extLst>
          </p:cNvPr>
          <p:cNvGrpSpPr/>
          <p:nvPr/>
        </p:nvGrpSpPr>
        <p:grpSpPr>
          <a:xfrm>
            <a:off x="614907" y="1342531"/>
            <a:ext cx="10739725" cy="5159878"/>
            <a:chOff x="614907" y="1342531"/>
            <a:chExt cx="10739725" cy="5159878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6F69B6ED-313F-B0FA-0BFE-E4CE7F94E2A4}"/>
                </a:ext>
              </a:extLst>
            </p:cNvPr>
            <p:cNvGrpSpPr/>
            <p:nvPr/>
          </p:nvGrpSpPr>
          <p:grpSpPr>
            <a:xfrm>
              <a:off x="7626300" y="1342531"/>
              <a:ext cx="1615422" cy="276999"/>
              <a:chOff x="7626300" y="1342531"/>
              <a:chExt cx="1615422" cy="276999"/>
            </a:xfrm>
          </p:grpSpPr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76137C1A-DB55-3239-1A54-739279DAEF35}"/>
                  </a:ext>
                </a:extLst>
              </p:cNvPr>
              <p:cNvSpPr/>
              <p:nvPr/>
            </p:nvSpPr>
            <p:spPr>
              <a:xfrm>
                <a:off x="7626300" y="1397378"/>
                <a:ext cx="401628" cy="167304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FB7C7290-3184-9AE0-441D-F4211D9B4AF4}"/>
                  </a:ext>
                </a:extLst>
              </p:cNvPr>
              <p:cNvSpPr txBox="1"/>
              <p:nvPr/>
            </p:nvSpPr>
            <p:spPr>
              <a:xfrm>
                <a:off x="8022681" y="1342531"/>
                <a:ext cx="121904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/>
                  <a:t>User Retention</a:t>
                </a: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2372677C-D2DD-3CBD-CFCA-A1A97F5A0AE6}"/>
                </a:ext>
              </a:extLst>
            </p:cNvPr>
            <p:cNvGrpSpPr/>
            <p:nvPr/>
          </p:nvGrpSpPr>
          <p:grpSpPr>
            <a:xfrm>
              <a:off x="9427847" y="1342531"/>
              <a:ext cx="1816720" cy="276999"/>
              <a:chOff x="9427847" y="1342531"/>
              <a:chExt cx="1816720" cy="276999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582892E3-9B1F-33A3-D1FE-EDD383C54786}"/>
                  </a:ext>
                </a:extLst>
              </p:cNvPr>
              <p:cNvSpPr/>
              <p:nvPr/>
            </p:nvSpPr>
            <p:spPr>
              <a:xfrm>
                <a:off x="9427847" y="1397378"/>
                <a:ext cx="401628" cy="16730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A1460DC-7DF3-F95F-DACB-69C345571DBB}"/>
                  </a:ext>
                </a:extLst>
              </p:cNvPr>
              <p:cNvSpPr txBox="1"/>
              <p:nvPr/>
            </p:nvSpPr>
            <p:spPr>
              <a:xfrm>
                <a:off x="9830786" y="1342531"/>
                <a:ext cx="141378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/>
                  <a:t>Business Revenue</a:t>
                </a:r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C1B5D9E-2A51-E02A-76D3-8669531D9691}"/>
                </a:ext>
              </a:extLst>
            </p:cNvPr>
            <p:cNvGrpSpPr/>
            <p:nvPr/>
          </p:nvGrpSpPr>
          <p:grpSpPr>
            <a:xfrm>
              <a:off x="614907" y="1674377"/>
              <a:ext cx="10739725" cy="4828032"/>
              <a:chOff x="614907" y="1674377"/>
              <a:chExt cx="10739725" cy="4828032"/>
            </a:xfrm>
          </p:grpSpPr>
          <p:sp>
            <p:nvSpPr>
              <p:cNvPr id="32" name="Rounded Rectangle 31">
                <a:extLst>
                  <a:ext uri="{FF2B5EF4-FFF2-40B4-BE49-F238E27FC236}">
                    <a16:creationId xmlns:a16="http://schemas.microsoft.com/office/drawing/2014/main" id="{930FE955-2BCF-494D-0D56-FB806B86F7EB}"/>
                  </a:ext>
                </a:extLst>
              </p:cNvPr>
              <p:cNvSpPr/>
              <p:nvPr/>
            </p:nvSpPr>
            <p:spPr>
              <a:xfrm>
                <a:off x="614907" y="1674377"/>
                <a:ext cx="10722054" cy="4828032"/>
              </a:xfrm>
              <a:prstGeom prst="roundRect">
                <a:avLst>
                  <a:gd name="adj" fmla="val 7197"/>
                </a:avLst>
              </a:prstGeom>
              <a:solidFill>
                <a:srgbClr val="F7F7F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1BE5B593-15AD-2093-907B-752939AC8494}"/>
                  </a:ext>
                </a:extLst>
              </p:cNvPr>
              <p:cNvGrpSpPr/>
              <p:nvPr/>
            </p:nvGrpSpPr>
            <p:grpSpPr>
              <a:xfrm>
                <a:off x="788002" y="1980491"/>
                <a:ext cx="10566630" cy="4256022"/>
                <a:chOff x="1444490" y="1980491"/>
                <a:chExt cx="10566630" cy="4256022"/>
              </a:xfrm>
            </p:grpSpPr>
            <p:grpSp>
              <p:nvGrpSpPr>
                <p:cNvPr id="7" name="Group 6">
                  <a:extLst>
                    <a:ext uri="{FF2B5EF4-FFF2-40B4-BE49-F238E27FC236}">
                      <a16:creationId xmlns:a16="http://schemas.microsoft.com/office/drawing/2014/main" id="{FB25BFCB-8B1A-7A64-A243-AE220B5555C9}"/>
                    </a:ext>
                  </a:extLst>
                </p:cNvPr>
                <p:cNvGrpSpPr/>
                <p:nvPr/>
              </p:nvGrpSpPr>
              <p:grpSpPr>
                <a:xfrm>
                  <a:off x="1444490" y="1980491"/>
                  <a:ext cx="10566630" cy="4256022"/>
                  <a:chOff x="1444490" y="1980491"/>
                  <a:chExt cx="10566630" cy="4256022"/>
                </a:xfrm>
              </p:grpSpPr>
              <p:grpSp>
                <p:nvGrpSpPr>
                  <p:cNvPr id="4" name="Group 3">
                    <a:extLst>
                      <a:ext uri="{FF2B5EF4-FFF2-40B4-BE49-F238E27FC236}">
                        <a16:creationId xmlns:a16="http://schemas.microsoft.com/office/drawing/2014/main" id="{74B66CE3-ADAF-1D8E-7761-56235A34731C}"/>
                      </a:ext>
                    </a:extLst>
                  </p:cNvPr>
                  <p:cNvGrpSpPr/>
                  <p:nvPr/>
                </p:nvGrpSpPr>
                <p:grpSpPr>
                  <a:xfrm>
                    <a:off x="1444490" y="1980491"/>
                    <a:ext cx="10566630" cy="4254409"/>
                    <a:chOff x="2126131" y="1967428"/>
                    <a:chExt cx="10566630" cy="4254409"/>
                  </a:xfrm>
                </p:grpSpPr>
                <p:grpSp>
                  <p:nvGrpSpPr>
                    <p:cNvPr id="30" name="Group 29">
                      <a:extLst>
                        <a:ext uri="{FF2B5EF4-FFF2-40B4-BE49-F238E27FC236}">
                          <a16:creationId xmlns:a16="http://schemas.microsoft.com/office/drawing/2014/main" id="{66B438A7-AF43-44B7-DA11-E7135A113F4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126131" y="1967428"/>
                      <a:ext cx="10566630" cy="4254409"/>
                      <a:chOff x="4714225" y="1930852"/>
                      <a:chExt cx="10566630" cy="4254409"/>
                    </a:xfrm>
                  </p:grpSpPr>
                  <p:sp>
                    <p:nvSpPr>
                      <p:cNvPr id="13" name="Freeform 12">
                        <a:extLst>
                          <a:ext uri="{FF2B5EF4-FFF2-40B4-BE49-F238E27FC236}">
                            <a16:creationId xmlns:a16="http://schemas.microsoft.com/office/drawing/2014/main" id="{BE840886-E161-D329-EA16-D9CBBFAF366E}"/>
                          </a:ext>
                        </a:extLst>
                      </p:cNvPr>
                      <p:cNvSpPr>
                        <a:spLocks noChangeAspect="1"/>
                      </p:cNvSpPr>
                      <p:nvPr/>
                    </p:nvSpPr>
                    <p:spPr>
                      <a:xfrm>
                        <a:off x="4855075" y="2840788"/>
                        <a:ext cx="1526240" cy="1610983"/>
                      </a:xfrm>
                      <a:custGeom>
                        <a:avLst/>
                        <a:gdLst>
                          <a:gd name="connsiteX0" fmla="*/ 0 w 1232517"/>
                          <a:gd name="connsiteY0" fmla="*/ 536145 h 1072290"/>
                          <a:gd name="connsiteX1" fmla="*/ 268073 w 1232517"/>
                          <a:gd name="connsiteY1" fmla="*/ 0 h 1072290"/>
                          <a:gd name="connsiteX2" fmla="*/ 964445 w 1232517"/>
                          <a:gd name="connsiteY2" fmla="*/ 0 h 1072290"/>
                          <a:gd name="connsiteX3" fmla="*/ 1232517 w 1232517"/>
                          <a:gd name="connsiteY3" fmla="*/ 536145 h 1072290"/>
                          <a:gd name="connsiteX4" fmla="*/ 964445 w 1232517"/>
                          <a:gd name="connsiteY4" fmla="*/ 1072290 h 1072290"/>
                          <a:gd name="connsiteX5" fmla="*/ 268073 w 1232517"/>
                          <a:gd name="connsiteY5" fmla="*/ 1072290 h 1072290"/>
                          <a:gd name="connsiteX6" fmla="*/ 0 w 1232517"/>
                          <a:gd name="connsiteY6" fmla="*/ 536145 h 107229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1232517" h="1072290">
                            <a:moveTo>
                              <a:pt x="616259" y="0"/>
                            </a:moveTo>
                            <a:lnTo>
                              <a:pt x="1232516" y="233224"/>
                            </a:lnTo>
                            <a:lnTo>
                              <a:pt x="1232516" y="839067"/>
                            </a:lnTo>
                            <a:lnTo>
                              <a:pt x="616259" y="1072290"/>
                            </a:lnTo>
                            <a:lnTo>
                              <a:pt x="1" y="839067"/>
                            </a:lnTo>
                            <a:lnTo>
                              <a:pt x="1" y="233224"/>
                            </a:lnTo>
                            <a:lnTo>
                              <a:pt x="616259" y="0"/>
                            </a:lnTo>
                            <a:close/>
                          </a:path>
                        </a:pathLst>
                      </a:custGeom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</p:spPr>
                    <p:style>
                      <a:lnRef idx="3">
                        <a:schemeClr val="l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lt1"/>
                      </a:fontRef>
                    </p:style>
                    <p:txBody>
                      <a:bodyPr spcFirstLastPara="0" vert="horz" wrap="square" lIns="0" tIns="0" rIns="0" bIns="0" numCol="1" spcCol="1270" anchor="ctr" anchorCtr="0">
                        <a:noAutofit/>
                      </a:bodyPr>
                      <a:lstStyle/>
                      <a:p>
                        <a:pPr marL="0" lvl="0" indent="0" algn="ctr" defTabSz="48895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r>
                          <a:rPr lang="en-GB" sz="1400" b="1" kern="1200" dirty="0">
                            <a:solidFill>
                              <a:schemeClr val="tx1"/>
                            </a:solidFill>
                          </a:rPr>
                          <a:t>Intelligent Recommendation</a:t>
                        </a:r>
                      </a:p>
                    </p:txBody>
                  </p:sp>
                  <p:sp>
                    <p:nvSpPr>
                      <p:cNvPr id="14" name="Freeform 13">
                        <a:extLst>
                          <a:ext uri="{FF2B5EF4-FFF2-40B4-BE49-F238E27FC236}">
                            <a16:creationId xmlns:a16="http://schemas.microsoft.com/office/drawing/2014/main" id="{18118D88-A972-0B19-F36E-3B3C7C7D44B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714225" y="1940402"/>
                        <a:ext cx="1800000" cy="720000"/>
                      </a:xfrm>
                      <a:custGeom>
                        <a:avLst/>
                        <a:gdLst>
                          <a:gd name="connsiteX0" fmla="*/ 0 w 1375489"/>
                          <a:gd name="connsiteY0" fmla="*/ 0 h 739510"/>
                          <a:gd name="connsiteX1" fmla="*/ 1375489 w 1375489"/>
                          <a:gd name="connsiteY1" fmla="*/ 0 h 739510"/>
                          <a:gd name="connsiteX2" fmla="*/ 1375489 w 1375489"/>
                          <a:gd name="connsiteY2" fmla="*/ 739510 h 739510"/>
                          <a:gd name="connsiteX3" fmla="*/ 0 w 1375489"/>
                          <a:gd name="connsiteY3" fmla="*/ 739510 h 739510"/>
                          <a:gd name="connsiteX4" fmla="*/ 0 w 1375489"/>
                          <a:gd name="connsiteY4" fmla="*/ 0 h 73951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375489" h="739510">
                            <a:moveTo>
                              <a:pt x="0" y="0"/>
                            </a:moveTo>
                            <a:lnTo>
                              <a:pt x="1375489" y="0"/>
                            </a:lnTo>
                            <a:lnTo>
                              <a:pt x="1375489" y="739510"/>
                            </a:lnTo>
                            <a:lnTo>
                              <a:pt x="0" y="73951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0">
                        <a:schemeClr val="dk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 spcFirstLastPara="0" vert="horz" wrap="square" lIns="41910" tIns="41910" rIns="41910" bIns="41910" numCol="1" spcCol="1270" anchor="ctr" anchorCtr="0">
                        <a:noAutofit/>
                      </a:bodyPr>
                      <a:lstStyle/>
                      <a:p>
                        <a:pPr marL="0" lvl="0" indent="0" algn="ctr" defTabSz="48895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Font typeface="Arial" panose="020B0604020202020204" pitchFamily="34" charset="0"/>
                          <a:buNone/>
                        </a:pPr>
                        <a:r>
                          <a:rPr lang="en-US" sz="1100" b="1" kern="1200" dirty="0"/>
                          <a:t>Develop an intelligent recommendation system</a:t>
                        </a:r>
                        <a:r>
                          <a:rPr lang="en-US" sz="1100" kern="1200" dirty="0"/>
                          <a:t> using machine learning and advanced AI.</a:t>
                        </a:r>
                        <a:endParaRPr lang="en-GB" sz="1100" kern="1200" dirty="0"/>
                      </a:p>
                    </p:txBody>
                  </p:sp>
                  <p:sp>
                    <p:nvSpPr>
                      <p:cNvPr id="16" name="Freeform 15">
                        <a:extLst>
                          <a:ext uri="{FF2B5EF4-FFF2-40B4-BE49-F238E27FC236}">
                            <a16:creationId xmlns:a16="http://schemas.microsoft.com/office/drawing/2014/main" id="{5904E435-72B0-171A-61A9-66F694BCEAB0}"/>
                          </a:ext>
                        </a:extLst>
                      </p:cNvPr>
                      <p:cNvSpPr>
                        <a:spLocks noChangeAspect="1"/>
                      </p:cNvSpPr>
                      <p:nvPr/>
                    </p:nvSpPr>
                    <p:spPr>
                      <a:xfrm>
                        <a:off x="6234483" y="3646279"/>
                        <a:ext cx="1401555" cy="1610983"/>
                      </a:xfrm>
                      <a:custGeom>
                        <a:avLst/>
                        <a:gdLst>
                          <a:gd name="connsiteX0" fmla="*/ 0 w 1232517"/>
                          <a:gd name="connsiteY0" fmla="*/ 536145 h 1072290"/>
                          <a:gd name="connsiteX1" fmla="*/ 268073 w 1232517"/>
                          <a:gd name="connsiteY1" fmla="*/ 0 h 1072290"/>
                          <a:gd name="connsiteX2" fmla="*/ 964445 w 1232517"/>
                          <a:gd name="connsiteY2" fmla="*/ 0 h 1072290"/>
                          <a:gd name="connsiteX3" fmla="*/ 1232517 w 1232517"/>
                          <a:gd name="connsiteY3" fmla="*/ 536145 h 1072290"/>
                          <a:gd name="connsiteX4" fmla="*/ 964445 w 1232517"/>
                          <a:gd name="connsiteY4" fmla="*/ 1072290 h 1072290"/>
                          <a:gd name="connsiteX5" fmla="*/ 268073 w 1232517"/>
                          <a:gd name="connsiteY5" fmla="*/ 1072290 h 1072290"/>
                          <a:gd name="connsiteX6" fmla="*/ 0 w 1232517"/>
                          <a:gd name="connsiteY6" fmla="*/ 536145 h 107229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1232517" h="1072290">
                            <a:moveTo>
                              <a:pt x="616259" y="0"/>
                            </a:moveTo>
                            <a:lnTo>
                              <a:pt x="1232516" y="233224"/>
                            </a:lnTo>
                            <a:lnTo>
                              <a:pt x="1232516" y="839067"/>
                            </a:lnTo>
                            <a:lnTo>
                              <a:pt x="616259" y="1072290"/>
                            </a:lnTo>
                            <a:lnTo>
                              <a:pt x="1" y="839067"/>
                            </a:lnTo>
                            <a:lnTo>
                              <a:pt x="1" y="233224"/>
                            </a:lnTo>
                            <a:lnTo>
                              <a:pt x="616259" y="0"/>
                            </a:lnTo>
                            <a:close/>
                          </a:path>
                        </a:pathLst>
                      </a:custGeom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</p:spPr>
                    <p:style>
                      <a:lnRef idx="3">
                        <a:schemeClr val="l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lt1"/>
                      </a:fontRef>
                    </p:style>
                    <p:txBody>
                      <a:bodyPr spcFirstLastPara="0" vert="horz" wrap="square" lIns="0" tIns="0" rIns="0" bIns="0" numCol="1" spcCol="1270" anchor="ctr" anchorCtr="0">
                        <a:noAutofit/>
                      </a:bodyPr>
                      <a:lstStyle/>
                      <a:p>
                        <a:pPr marL="0" lvl="0" indent="0" algn="ctr" defTabSz="48895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r>
                          <a:rPr lang="en-GB" sz="1400" b="1" dirty="0">
                            <a:solidFill>
                              <a:schemeClr val="tx1"/>
                            </a:solidFill>
                          </a:rPr>
                          <a:t>Guest</a:t>
                        </a:r>
                        <a:r>
                          <a:rPr lang="en-GB" sz="1400" b="1" kern="1200" dirty="0">
                            <a:solidFill>
                              <a:schemeClr val="tx1"/>
                            </a:solidFill>
                          </a:rPr>
                          <a:t> Users</a:t>
                        </a:r>
                      </a:p>
                    </p:txBody>
                  </p:sp>
                  <p:sp>
                    <p:nvSpPr>
                      <p:cNvPr id="17" name="Freeform 16">
                        <a:extLst>
                          <a:ext uri="{FF2B5EF4-FFF2-40B4-BE49-F238E27FC236}">
                            <a16:creationId xmlns:a16="http://schemas.microsoft.com/office/drawing/2014/main" id="{A44F13DA-DF3B-6165-440B-18031B342C4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035260" y="5465261"/>
                        <a:ext cx="1800000" cy="720000"/>
                      </a:xfrm>
                      <a:custGeom>
                        <a:avLst/>
                        <a:gdLst>
                          <a:gd name="connsiteX0" fmla="*/ 0 w 1331118"/>
                          <a:gd name="connsiteY0" fmla="*/ 0 h 739510"/>
                          <a:gd name="connsiteX1" fmla="*/ 1331118 w 1331118"/>
                          <a:gd name="connsiteY1" fmla="*/ 0 h 739510"/>
                          <a:gd name="connsiteX2" fmla="*/ 1331118 w 1331118"/>
                          <a:gd name="connsiteY2" fmla="*/ 739510 h 739510"/>
                          <a:gd name="connsiteX3" fmla="*/ 0 w 1331118"/>
                          <a:gd name="connsiteY3" fmla="*/ 739510 h 739510"/>
                          <a:gd name="connsiteX4" fmla="*/ 0 w 1331118"/>
                          <a:gd name="connsiteY4" fmla="*/ 0 h 73951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331118" h="739510">
                            <a:moveTo>
                              <a:pt x="0" y="0"/>
                            </a:moveTo>
                            <a:lnTo>
                              <a:pt x="1331118" y="0"/>
                            </a:lnTo>
                            <a:lnTo>
                              <a:pt x="1331118" y="739510"/>
                            </a:lnTo>
                            <a:lnTo>
                              <a:pt x="0" y="73951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0">
                        <a:schemeClr val="dk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 spcFirstLastPara="0" vert="horz" wrap="square" lIns="41910" tIns="41910" rIns="41910" bIns="41910" numCol="1" spcCol="1270" anchor="ctr" anchorCtr="0">
                        <a:noAutofit/>
                      </a:bodyPr>
                      <a:lstStyle/>
                      <a:p>
                        <a:pPr marL="0" lvl="0" indent="0" algn="ctr" defTabSz="48895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r>
                          <a:rPr lang="en-US" sz="1100" b="1" kern="1200" dirty="0"/>
                          <a:t>Address cold-start problems</a:t>
                        </a:r>
                        <a:r>
                          <a:rPr lang="en-US" sz="1100" kern="1200" dirty="0"/>
                          <a:t> and improve engagement, especially for </a:t>
                        </a:r>
                        <a:r>
                          <a:rPr lang="en-US" sz="1100" dirty="0"/>
                          <a:t> guest</a:t>
                        </a:r>
                        <a:r>
                          <a:rPr lang="en-US" sz="1100" kern="1200" dirty="0"/>
                          <a:t> users. </a:t>
                        </a:r>
                        <a:endParaRPr lang="en-GB" sz="1100" kern="1200" dirty="0"/>
                      </a:p>
                    </p:txBody>
                  </p:sp>
                  <p:sp>
                    <p:nvSpPr>
                      <p:cNvPr id="19" name="Freeform 18">
                        <a:extLst>
                          <a:ext uri="{FF2B5EF4-FFF2-40B4-BE49-F238E27FC236}">
                            <a16:creationId xmlns:a16="http://schemas.microsoft.com/office/drawing/2014/main" id="{C4BBE95A-DE2E-0769-AD68-E51EFC2FA976}"/>
                          </a:ext>
                        </a:extLst>
                      </p:cNvPr>
                      <p:cNvSpPr>
                        <a:spLocks noChangeAspect="1"/>
                      </p:cNvSpPr>
                      <p:nvPr/>
                    </p:nvSpPr>
                    <p:spPr>
                      <a:xfrm>
                        <a:off x="7506153" y="2840788"/>
                        <a:ext cx="1401555" cy="1610983"/>
                      </a:xfrm>
                      <a:custGeom>
                        <a:avLst/>
                        <a:gdLst>
                          <a:gd name="connsiteX0" fmla="*/ 0 w 1232517"/>
                          <a:gd name="connsiteY0" fmla="*/ 536145 h 1072290"/>
                          <a:gd name="connsiteX1" fmla="*/ 268073 w 1232517"/>
                          <a:gd name="connsiteY1" fmla="*/ 0 h 1072290"/>
                          <a:gd name="connsiteX2" fmla="*/ 964445 w 1232517"/>
                          <a:gd name="connsiteY2" fmla="*/ 0 h 1072290"/>
                          <a:gd name="connsiteX3" fmla="*/ 1232517 w 1232517"/>
                          <a:gd name="connsiteY3" fmla="*/ 536145 h 1072290"/>
                          <a:gd name="connsiteX4" fmla="*/ 964445 w 1232517"/>
                          <a:gd name="connsiteY4" fmla="*/ 1072290 h 1072290"/>
                          <a:gd name="connsiteX5" fmla="*/ 268073 w 1232517"/>
                          <a:gd name="connsiteY5" fmla="*/ 1072290 h 1072290"/>
                          <a:gd name="connsiteX6" fmla="*/ 0 w 1232517"/>
                          <a:gd name="connsiteY6" fmla="*/ 536145 h 107229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1232517" h="1072290">
                            <a:moveTo>
                              <a:pt x="616259" y="0"/>
                            </a:moveTo>
                            <a:lnTo>
                              <a:pt x="1232516" y="233224"/>
                            </a:lnTo>
                            <a:lnTo>
                              <a:pt x="1232516" y="839067"/>
                            </a:lnTo>
                            <a:lnTo>
                              <a:pt x="616259" y="1072290"/>
                            </a:lnTo>
                            <a:lnTo>
                              <a:pt x="1" y="839067"/>
                            </a:lnTo>
                            <a:lnTo>
                              <a:pt x="1" y="233224"/>
                            </a:lnTo>
                            <a:lnTo>
                              <a:pt x="616259" y="0"/>
                            </a:lnTo>
                            <a:close/>
                          </a:path>
                        </a:pathLst>
                      </a:custGeom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</p:spPr>
                    <p:style>
                      <a:lnRef idx="3">
                        <a:schemeClr val="l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lt1"/>
                      </a:fontRef>
                    </p:style>
                    <p:txBody>
                      <a:bodyPr spcFirstLastPara="0" vert="horz" wrap="square" lIns="0" tIns="0" rIns="0" bIns="0" numCol="1" spcCol="1270" anchor="ctr" anchorCtr="0">
                        <a:noAutofit/>
                      </a:bodyPr>
                      <a:lstStyle/>
                      <a:p>
                        <a:pPr marL="0" lvl="0" indent="0" algn="ctr" defTabSz="48895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r>
                          <a:rPr lang="en-GB" sz="1400" b="1" kern="1200" dirty="0">
                            <a:solidFill>
                              <a:schemeClr val="tx1"/>
                            </a:solidFill>
                          </a:rPr>
                          <a:t>Personalisation</a:t>
                        </a:r>
                      </a:p>
                    </p:txBody>
                  </p:sp>
                  <p:sp>
                    <p:nvSpPr>
                      <p:cNvPr id="20" name="Freeform 19">
                        <a:extLst>
                          <a:ext uri="{FF2B5EF4-FFF2-40B4-BE49-F238E27FC236}">
                            <a16:creationId xmlns:a16="http://schemas.microsoft.com/office/drawing/2014/main" id="{6AB0F267-D938-75B2-5D20-845BF580A47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306930" y="1940402"/>
                        <a:ext cx="1800000" cy="720000"/>
                      </a:xfrm>
                      <a:custGeom>
                        <a:avLst/>
                        <a:gdLst>
                          <a:gd name="connsiteX0" fmla="*/ 0 w 1375489"/>
                          <a:gd name="connsiteY0" fmla="*/ 0 h 739510"/>
                          <a:gd name="connsiteX1" fmla="*/ 1375489 w 1375489"/>
                          <a:gd name="connsiteY1" fmla="*/ 0 h 739510"/>
                          <a:gd name="connsiteX2" fmla="*/ 1375489 w 1375489"/>
                          <a:gd name="connsiteY2" fmla="*/ 739510 h 739510"/>
                          <a:gd name="connsiteX3" fmla="*/ 0 w 1375489"/>
                          <a:gd name="connsiteY3" fmla="*/ 739510 h 739510"/>
                          <a:gd name="connsiteX4" fmla="*/ 0 w 1375489"/>
                          <a:gd name="connsiteY4" fmla="*/ 0 h 73951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375489" h="739510">
                            <a:moveTo>
                              <a:pt x="0" y="0"/>
                            </a:moveTo>
                            <a:lnTo>
                              <a:pt x="1375489" y="0"/>
                            </a:lnTo>
                            <a:lnTo>
                              <a:pt x="1375489" y="739510"/>
                            </a:lnTo>
                            <a:lnTo>
                              <a:pt x="0" y="73951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0">
                        <a:schemeClr val="dk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 spcFirstLastPara="0" vert="horz" wrap="square" lIns="41910" tIns="41910" rIns="41910" bIns="41910" numCol="1" spcCol="1270" anchor="ctr" anchorCtr="0">
                        <a:noAutofit/>
                      </a:bodyPr>
                      <a:lstStyle/>
                      <a:p>
                        <a:pPr marL="0" lvl="0" indent="0" algn="ctr" defTabSz="48895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r>
                          <a:rPr lang="en-US" sz="1100" b="1" kern="1200" dirty="0"/>
                          <a:t>Personalize song suggestions</a:t>
                        </a:r>
                        <a:r>
                          <a:rPr lang="en-US" sz="1100" kern="1200" dirty="0"/>
                          <a:t> based on user preferences, behavior, locale, and sentiment analysis</a:t>
                        </a:r>
                        <a:endParaRPr lang="en-GB" sz="1100" kern="1200" dirty="0"/>
                      </a:p>
                    </p:txBody>
                  </p:sp>
                  <p:sp>
                    <p:nvSpPr>
                      <p:cNvPr id="22" name="Freeform 21">
                        <a:extLst>
                          <a:ext uri="{FF2B5EF4-FFF2-40B4-BE49-F238E27FC236}">
                            <a16:creationId xmlns:a16="http://schemas.microsoft.com/office/drawing/2014/main" id="{47C26D7B-4155-8FE9-CD33-D5B8B39ED258}"/>
                          </a:ext>
                        </a:extLst>
                      </p:cNvPr>
                      <p:cNvSpPr>
                        <a:spLocks noChangeAspect="1"/>
                      </p:cNvSpPr>
                      <p:nvPr/>
                    </p:nvSpPr>
                    <p:spPr>
                      <a:xfrm>
                        <a:off x="8789546" y="3646279"/>
                        <a:ext cx="1401555" cy="1610983"/>
                      </a:xfrm>
                      <a:custGeom>
                        <a:avLst/>
                        <a:gdLst>
                          <a:gd name="connsiteX0" fmla="*/ 0 w 1232517"/>
                          <a:gd name="connsiteY0" fmla="*/ 536145 h 1072290"/>
                          <a:gd name="connsiteX1" fmla="*/ 268073 w 1232517"/>
                          <a:gd name="connsiteY1" fmla="*/ 0 h 1072290"/>
                          <a:gd name="connsiteX2" fmla="*/ 964445 w 1232517"/>
                          <a:gd name="connsiteY2" fmla="*/ 0 h 1072290"/>
                          <a:gd name="connsiteX3" fmla="*/ 1232517 w 1232517"/>
                          <a:gd name="connsiteY3" fmla="*/ 536145 h 1072290"/>
                          <a:gd name="connsiteX4" fmla="*/ 964445 w 1232517"/>
                          <a:gd name="connsiteY4" fmla="*/ 1072290 h 1072290"/>
                          <a:gd name="connsiteX5" fmla="*/ 268073 w 1232517"/>
                          <a:gd name="connsiteY5" fmla="*/ 1072290 h 1072290"/>
                          <a:gd name="connsiteX6" fmla="*/ 0 w 1232517"/>
                          <a:gd name="connsiteY6" fmla="*/ 536145 h 107229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1232517" h="1072290">
                            <a:moveTo>
                              <a:pt x="616259" y="0"/>
                            </a:moveTo>
                            <a:lnTo>
                              <a:pt x="1232516" y="233224"/>
                            </a:lnTo>
                            <a:lnTo>
                              <a:pt x="1232516" y="839067"/>
                            </a:lnTo>
                            <a:lnTo>
                              <a:pt x="616259" y="1072290"/>
                            </a:lnTo>
                            <a:lnTo>
                              <a:pt x="1" y="839067"/>
                            </a:lnTo>
                            <a:lnTo>
                              <a:pt x="1" y="233224"/>
                            </a:lnTo>
                            <a:lnTo>
                              <a:pt x="616259" y="0"/>
                            </a:lnTo>
                            <a:close/>
                          </a:path>
                        </a:pathLst>
                      </a:custGeom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</p:spPr>
                    <p:style>
                      <a:lnRef idx="3">
                        <a:schemeClr val="l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lt1"/>
                      </a:fontRef>
                    </p:style>
                    <p:txBody>
                      <a:bodyPr spcFirstLastPara="0" vert="horz" wrap="square" lIns="0" tIns="0" rIns="0" bIns="0" numCol="1" spcCol="1270" anchor="ctr" anchorCtr="0">
                        <a:noAutofit/>
                      </a:bodyPr>
                      <a:lstStyle/>
                      <a:p>
                        <a:pPr marL="0" lvl="0" indent="0" algn="ctr" defTabSz="48895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Font typeface="Arial" panose="020B0604020202020204" pitchFamily="34" charset="0"/>
                          <a:buNone/>
                        </a:pPr>
                        <a:r>
                          <a:rPr lang="en-GB" sz="1400" b="1" kern="1200" dirty="0">
                            <a:solidFill>
                              <a:schemeClr val="tx1"/>
                            </a:solidFill>
                          </a:rPr>
                          <a:t>AI Chat</a:t>
                        </a:r>
                      </a:p>
                    </p:txBody>
                  </p:sp>
                  <p:sp>
                    <p:nvSpPr>
                      <p:cNvPr id="23" name="Freeform 22">
                        <a:extLst>
                          <a:ext uri="{FF2B5EF4-FFF2-40B4-BE49-F238E27FC236}">
                            <a16:creationId xmlns:a16="http://schemas.microsoft.com/office/drawing/2014/main" id="{39D17279-EFC8-D9DE-B20F-9A4E16D5D54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80855" y="1930852"/>
                        <a:ext cx="1800000" cy="720000"/>
                      </a:xfrm>
                      <a:custGeom>
                        <a:avLst/>
                        <a:gdLst>
                          <a:gd name="connsiteX0" fmla="*/ 0 w 1331118"/>
                          <a:gd name="connsiteY0" fmla="*/ 0 h 739510"/>
                          <a:gd name="connsiteX1" fmla="*/ 1331118 w 1331118"/>
                          <a:gd name="connsiteY1" fmla="*/ 0 h 739510"/>
                          <a:gd name="connsiteX2" fmla="*/ 1331118 w 1331118"/>
                          <a:gd name="connsiteY2" fmla="*/ 739510 h 739510"/>
                          <a:gd name="connsiteX3" fmla="*/ 0 w 1331118"/>
                          <a:gd name="connsiteY3" fmla="*/ 739510 h 739510"/>
                          <a:gd name="connsiteX4" fmla="*/ 0 w 1331118"/>
                          <a:gd name="connsiteY4" fmla="*/ 0 h 73951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331118" h="739510">
                            <a:moveTo>
                              <a:pt x="0" y="0"/>
                            </a:moveTo>
                            <a:lnTo>
                              <a:pt x="1331118" y="0"/>
                            </a:lnTo>
                            <a:lnTo>
                              <a:pt x="1331118" y="739510"/>
                            </a:lnTo>
                            <a:lnTo>
                              <a:pt x="0" y="73951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0">
                        <a:schemeClr val="dk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 spcFirstLastPara="0" vert="horz" wrap="square" lIns="41910" tIns="41910" rIns="41910" bIns="41910" numCol="1" spcCol="1270" anchor="ctr" anchorCtr="0">
                        <a:noAutofit/>
                      </a:bodyPr>
                      <a:lstStyle/>
                      <a:p>
                        <a:pPr marL="0" lvl="0" indent="0" algn="ctr" defTabSz="48895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Font typeface="Arial" panose="020B0604020202020204" pitchFamily="34" charset="0"/>
                          <a:buNone/>
                        </a:pPr>
                        <a:r>
                          <a:rPr lang="en-US" sz="1100" b="1" kern="1200" dirty="0"/>
                          <a:t>Increase user retention</a:t>
                        </a:r>
                        <a:r>
                          <a:rPr lang="en-US" sz="1100" kern="1200" dirty="0"/>
                          <a:t> and </a:t>
                        </a:r>
                        <a:r>
                          <a:rPr lang="en-US" sz="1100" b="1" kern="1200" dirty="0"/>
                          <a:t>business revenue</a:t>
                        </a:r>
                        <a:r>
                          <a:rPr lang="en-US" sz="1100" kern="1200" dirty="0"/>
                          <a:t> for streaming platforms through better engagement.</a:t>
                        </a:r>
                        <a:endParaRPr lang="en-GB" sz="1100" kern="1200" dirty="0"/>
                      </a:p>
                    </p:txBody>
                  </p:sp>
                  <p:sp>
                    <p:nvSpPr>
                      <p:cNvPr id="25" name="Freeform 24">
                        <a:extLst>
                          <a:ext uri="{FF2B5EF4-FFF2-40B4-BE49-F238E27FC236}">
                            <a16:creationId xmlns:a16="http://schemas.microsoft.com/office/drawing/2014/main" id="{F6581E84-4B0C-B438-A2B5-88000F37D887}"/>
                          </a:ext>
                        </a:extLst>
                      </p:cNvPr>
                      <p:cNvSpPr>
                        <a:spLocks noChangeAspect="1"/>
                      </p:cNvSpPr>
                      <p:nvPr/>
                    </p:nvSpPr>
                    <p:spPr>
                      <a:xfrm>
                        <a:off x="13680078" y="3075249"/>
                        <a:ext cx="1401555" cy="1610983"/>
                      </a:xfrm>
                      <a:custGeom>
                        <a:avLst/>
                        <a:gdLst>
                          <a:gd name="connsiteX0" fmla="*/ 0 w 1232517"/>
                          <a:gd name="connsiteY0" fmla="*/ 536145 h 1072290"/>
                          <a:gd name="connsiteX1" fmla="*/ 268073 w 1232517"/>
                          <a:gd name="connsiteY1" fmla="*/ 0 h 1072290"/>
                          <a:gd name="connsiteX2" fmla="*/ 964445 w 1232517"/>
                          <a:gd name="connsiteY2" fmla="*/ 0 h 1072290"/>
                          <a:gd name="connsiteX3" fmla="*/ 1232517 w 1232517"/>
                          <a:gd name="connsiteY3" fmla="*/ 536145 h 1072290"/>
                          <a:gd name="connsiteX4" fmla="*/ 964445 w 1232517"/>
                          <a:gd name="connsiteY4" fmla="*/ 1072290 h 1072290"/>
                          <a:gd name="connsiteX5" fmla="*/ 268073 w 1232517"/>
                          <a:gd name="connsiteY5" fmla="*/ 1072290 h 1072290"/>
                          <a:gd name="connsiteX6" fmla="*/ 0 w 1232517"/>
                          <a:gd name="connsiteY6" fmla="*/ 536145 h 107229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1232517" h="1072290">
                            <a:moveTo>
                              <a:pt x="616259" y="0"/>
                            </a:moveTo>
                            <a:lnTo>
                              <a:pt x="1232516" y="233224"/>
                            </a:lnTo>
                            <a:lnTo>
                              <a:pt x="1232516" y="839067"/>
                            </a:lnTo>
                            <a:lnTo>
                              <a:pt x="616259" y="1072290"/>
                            </a:lnTo>
                            <a:lnTo>
                              <a:pt x="1" y="839067"/>
                            </a:lnTo>
                            <a:lnTo>
                              <a:pt x="1" y="233224"/>
                            </a:lnTo>
                            <a:lnTo>
                              <a:pt x="616259" y="0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</p:spPr>
                    <p:style>
                      <a:lnRef idx="3">
                        <a:schemeClr val="l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lt1"/>
                      </a:fontRef>
                    </p:style>
                    <p:txBody>
                      <a:bodyPr spcFirstLastPara="0" vert="horz" wrap="square" lIns="0" tIns="0" rIns="0" bIns="0" numCol="1" spcCol="1270" anchor="ctr" anchorCtr="0">
                        <a:noAutofit/>
                      </a:bodyPr>
                      <a:lstStyle/>
                      <a:p>
                        <a:pPr marL="0" lvl="0" indent="0" algn="ctr" defTabSz="48895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Font typeface="Arial" panose="020B0604020202020204" pitchFamily="34" charset="0"/>
                          <a:buNone/>
                        </a:pPr>
                        <a:r>
                          <a:rPr lang="en-GB" sz="1400" b="1" kern="1200" dirty="0">
                            <a:solidFill>
                              <a:schemeClr val="tx1"/>
                            </a:solidFill>
                          </a:rPr>
                          <a:t>Retention &amp; Revenue</a:t>
                        </a:r>
                      </a:p>
                    </p:txBody>
                  </p:sp>
                  <p:sp>
                    <p:nvSpPr>
                      <p:cNvPr id="26" name="Freeform 25">
                        <a:extLst>
                          <a:ext uri="{FF2B5EF4-FFF2-40B4-BE49-F238E27FC236}">
                            <a16:creationId xmlns:a16="http://schemas.microsoft.com/office/drawing/2014/main" id="{A5EA2575-4516-866C-06AB-C06038A3A0F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589307" y="5465261"/>
                        <a:ext cx="1800000" cy="720000"/>
                      </a:xfrm>
                      <a:custGeom>
                        <a:avLst/>
                        <a:gdLst>
                          <a:gd name="connsiteX0" fmla="*/ 0 w 1375489"/>
                          <a:gd name="connsiteY0" fmla="*/ 0 h 739510"/>
                          <a:gd name="connsiteX1" fmla="*/ 1375489 w 1375489"/>
                          <a:gd name="connsiteY1" fmla="*/ 0 h 739510"/>
                          <a:gd name="connsiteX2" fmla="*/ 1375489 w 1375489"/>
                          <a:gd name="connsiteY2" fmla="*/ 739510 h 739510"/>
                          <a:gd name="connsiteX3" fmla="*/ 0 w 1375489"/>
                          <a:gd name="connsiteY3" fmla="*/ 739510 h 739510"/>
                          <a:gd name="connsiteX4" fmla="*/ 0 w 1375489"/>
                          <a:gd name="connsiteY4" fmla="*/ 0 h 73951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375489" h="739510">
                            <a:moveTo>
                              <a:pt x="0" y="0"/>
                            </a:moveTo>
                            <a:lnTo>
                              <a:pt x="1375489" y="0"/>
                            </a:lnTo>
                            <a:lnTo>
                              <a:pt x="1375489" y="739510"/>
                            </a:lnTo>
                            <a:lnTo>
                              <a:pt x="0" y="73951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0">
                        <a:schemeClr val="dk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 spcFirstLastPara="0" vert="horz" wrap="square" lIns="41910" tIns="41910" rIns="41910" bIns="41910" numCol="1" spcCol="1270" anchor="ctr" anchorCtr="0">
                        <a:noAutofit/>
                      </a:bodyPr>
                      <a:lstStyle/>
                      <a:p>
                        <a:pPr marL="0" lvl="0" indent="0" algn="ctr" defTabSz="48895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Font typeface="Arial" panose="020B0604020202020204" pitchFamily="34" charset="0"/>
                          <a:buNone/>
                        </a:pPr>
                        <a:r>
                          <a:rPr lang="en-US" sz="1100" dirty="0"/>
                          <a:t>T</a:t>
                        </a:r>
                        <a:r>
                          <a:rPr lang="en-US" sz="1100" kern="1200" dirty="0"/>
                          <a:t>he</a:t>
                        </a:r>
                        <a:r>
                          <a:rPr lang="en-US" sz="1100" b="1" kern="1200" dirty="0"/>
                          <a:t> chat feature </a:t>
                        </a:r>
                        <a:r>
                          <a:rPr lang="en-US" sz="1100" kern="1200" dirty="0"/>
                          <a:t>allows the user to acquire targeted recommendations</a:t>
                        </a:r>
                        <a:endParaRPr lang="en-GB" sz="1100" kern="1200" dirty="0"/>
                      </a:p>
                    </p:txBody>
                  </p:sp>
                </p:grpSp>
                <p:sp>
                  <p:nvSpPr>
                    <p:cNvPr id="27" name="Freeform 26">
                      <a:extLst>
                        <a:ext uri="{FF2B5EF4-FFF2-40B4-BE49-F238E27FC236}">
                          <a16:creationId xmlns:a16="http://schemas.microsoft.com/office/drawing/2014/main" id="{436B3D77-59D4-0293-DC7F-8AA3D461BFB7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>
                      <a:off x="8690433" y="3682855"/>
                      <a:ext cx="1401555" cy="1610983"/>
                    </a:xfrm>
                    <a:custGeom>
                      <a:avLst/>
                      <a:gdLst>
                        <a:gd name="connsiteX0" fmla="*/ 0 w 1232517"/>
                        <a:gd name="connsiteY0" fmla="*/ 536145 h 1072290"/>
                        <a:gd name="connsiteX1" fmla="*/ 268073 w 1232517"/>
                        <a:gd name="connsiteY1" fmla="*/ 0 h 1072290"/>
                        <a:gd name="connsiteX2" fmla="*/ 964445 w 1232517"/>
                        <a:gd name="connsiteY2" fmla="*/ 0 h 1072290"/>
                        <a:gd name="connsiteX3" fmla="*/ 1232517 w 1232517"/>
                        <a:gd name="connsiteY3" fmla="*/ 536145 h 1072290"/>
                        <a:gd name="connsiteX4" fmla="*/ 964445 w 1232517"/>
                        <a:gd name="connsiteY4" fmla="*/ 1072290 h 1072290"/>
                        <a:gd name="connsiteX5" fmla="*/ 268073 w 1232517"/>
                        <a:gd name="connsiteY5" fmla="*/ 1072290 h 1072290"/>
                        <a:gd name="connsiteX6" fmla="*/ 0 w 1232517"/>
                        <a:gd name="connsiteY6" fmla="*/ 536145 h 107229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232517" h="1072290">
                          <a:moveTo>
                            <a:pt x="616259" y="0"/>
                          </a:moveTo>
                          <a:lnTo>
                            <a:pt x="1232516" y="233224"/>
                          </a:lnTo>
                          <a:lnTo>
                            <a:pt x="1232516" y="839067"/>
                          </a:lnTo>
                          <a:lnTo>
                            <a:pt x="616259" y="1072290"/>
                          </a:lnTo>
                          <a:lnTo>
                            <a:pt x="1" y="839067"/>
                          </a:lnTo>
                          <a:lnTo>
                            <a:pt x="1" y="233224"/>
                          </a:lnTo>
                          <a:lnTo>
                            <a:pt x="616259" y="0"/>
                          </a:lnTo>
                          <a:close/>
                        </a:path>
                      </a:pathLst>
                    </a:custGeom>
                    <a:solidFill>
                      <a:schemeClr val="accent5">
                        <a:lumMod val="40000"/>
                        <a:lumOff val="60000"/>
                      </a:schemeClr>
                    </a:solidFill>
                  </p:spPr>
                  <p:style>
                    <a:lnRef idx="3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1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  <p:txBody>
                    <a:bodyPr spcFirstLastPara="0" vert="horz" wrap="square" lIns="0" tIns="0" rIns="0" bIns="0" numCol="1" spcCol="1270" anchor="ctr" anchorCtr="0">
                      <a:noAutofit/>
                    </a:bodyPr>
                    <a:lstStyle/>
                    <a:p>
                      <a:pPr marL="0" lvl="0" indent="0" algn="ctr" defTabSz="48895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Trending </a:t>
                      </a:r>
                    </a:p>
                    <a:p>
                      <a:pPr marL="0" lvl="0" indent="0" algn="ctr" defTabSz="48895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Now</a:t>
                      </a:r>
                      <a:endParaRPr lang="en-GB" sz="1400" b="1" kern="1200" dirty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8" name="Freeform 27">
                      <a:extLst>
                        <a:ext uri="{FF2B5EF4-FFF2-40B4-BE49-F238E27FC236}">
                          <a16:creationId xmlns:a16="http://schemas.microsoft.com/office/drawing/2014/main" id="{C9E17A6D-EA2E-FD10-201D-9D5BAB8BD7C5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>
                      <a:off x="7373941" y="2877364"/>
                      <a:ext cx="1401555" cy="1610983"/>
                    </a:xfrm>
                    <a:custGeom>
                      <a:avLst/>
                      <a:gdLst>
                        <a:gd name="connsiteX0" fmla="*/ 0 w 1232517"/>
                        <a:gd name="connsiteY0" fmla="*/ 536145 h 1072290"/>
                        <a:gd name="connsiteX1" fmla="*/ 268073 w 1232517"/>
                        <a:gd name="connsiteY1" fmla="*/ 0 h 1072290"/>
                        <a:gd name="connsiteX2" fmla="*/ 964445 w 1232517"/>
                        <a:gd name="connsiteY2" fmla="*/ 0 h 1072290"/>
                        <a:gd name="connsiteX3" fmla="*/ 1232517 w 1232517"/>
                        <a:gd name="connsiteY3" fmla="*/ 536145 h 1072290"/>
                        <a:gd name="connsiteX4" fmla="*/ 964445 w 1232517"/>
                        <a:gd name="connsiteY4" fmla="*/ 1072290 h 1072290"/>
                        <a:gd name="connsiteX5" fmla="*/ 268073 w 1232517"/>
                        <a:gd name="connsiteY5" fmla="*/ 1072290 h 1072290"/>
                        <a:gd name="connsiteX6" fmla="*/ 0 w 1232517"/>
                        <a:gd name="connsiteY6" fmla="*/ 536145 h 107229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232517" h="1072290">
                          <a:moveTo>
                            <a:pt x="616259" y="0"/>
                          </a:moveTo>
                          <a:lnTo>
                            <a:pt x="1232516" y="233224"/>
                          </a:lnTo>
                          <a:lnTo>
                            <a:pt x="1232516" y="839067"/>
                          </a:lnTo>
                          <a:lnTo>
                            <a:pt x="616259" y="1072290"/>
                          </a:lnTo>
                          <a:lnTo>
                            <a:pt x="1" y="839067"/>
                          </a:lnTo>
                          <a:lnTo>
                            <a:pt x="1" y="233224"/>
                          </a:lnTo>
                          <a:lnTo>
                            <a:pt x="616259" y="0"/>
                          </a:lnTo>
                          <a:close/>
                        </a:path>
                      </a:pathLst>
                    </a:custGeom>
                    <a:solidFill>
                      <a:schemeClr val="accent5">
                        <a:lumMod val="40000"/>
                        <a:lumOff val="60000"/>
                      </a:schemeClr>
                    </a:solidFill>
                  </p:spPr>
                  <p:style>
                    <a:lnRef idx="3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1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  <p:txBody>
                    <a:bodyPr spcFirstLastPara="0" vert="horz" wrap="square" lIns="0" tIns="0" rIns="0" bIns="0" numCol="1" spcCol="1270" anchor="ctr" anchorCtr="0">
                      <a:noAutofit/>
                    </a:bodyPr>
                    <a:lstStyle/>
                    <a:p>
                      <a:pPr marL="0" lvl="0" indent="0" algn="ctr" defTabSz="48895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GB" sz="1400" b="1" kern="1200" dirty="0">
                          <a:solidFill>
                            <a:schemeClr val="tx1"/>
                          </a:solidFill>
                        </a:rPr>
                        <a:t>Live</a:t>
                      </a:r>
                    </a:p>
                    <a:p>
                      <a:pPr marL="0" lvl="0" indent="0" algn="ctr" defTabSz="48895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GB" sz="1400" b="1" kern="1200" dirty="0">
                          <a:solidFill>
                            <a:schemeClr val="tx1"/>
                          </a:solidFill>
                        </a:rPr>
                        <a:t>Events</a:t>
                      </a:r>
                    </a:p>
                  </p:txBody>
                </p:sp>
              </p:grpSp>
              <p:sp>
                <p:nvSpPr>
                  <p:cNvPr id="33" name="Freeform 32">
                    <a:extLst>
                      <a:ext uri="{FF2B5EF4-FFF2-40B4-BE49-F238E27FC236}">
                        <a16:creationId xmlns:a16="http://schemas.microsoft.com/office/drawing/2014/main" id="{471DA166-DE56-7411-40F3-6ED512C70D46}"/>
                      </a:ext>
                    </a:extLst>
                  </p:cNvPr>
                  <p:cNvSpPr/>
                  <p:nvPr/>
                </p:nvSpPr>
                <p:spPr>
                  <a:xfrm>
                    <a:off x="7809569" y="5516513"/>
                    <a:ext cx="1800000" cy="720000"/>
                  </a:xfrm>
                  <a:custGeom>
                    <a:avLst/>
                    <a:gdLst>
                      <a:gd name="connsiteX0" fmla="*/ 0 w 1375489"/>
                      <a:gd name="connsiteY0" fmla="*/ 0 h 739510"/>
                      <a:gd name="connsiteX1" fmla="*/ 1375489 w 1375489"/>
                      <a:gd name="connsiteY1" fmla="*/ 0 h 739510"/>
                      <a:gd name="connsiteX2" fmla="*/ 1375489 w 1375489"/>
                      <a:gd name="connsiteY2" fmla="*/ 739510 h 739510"/>
                      <a:gd name="connsiteX3" fmla="*/ 0 w 1375489"/>
                      <a:gd name="connsiteY3" fmla="*/ 739510 h 739510"/>
                      <a:gd name="connsiteX4" fmla="*/ 0 w 1375489"/>
                      <a:gd name="connsiteY4" fmla="*/ 0 h 7395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75489" h="739510">
                        <a:moveTo>
                          <a:pt x="0" y="0"/>
                        </a:moveTo>
                        <a:lnTo>
                          <a:pt x="1375489" y="0"/>
                        </a:lnTo>
                        <a:lnTo>
                          <a:pt x="1375489" y="739510"/>
                        </a:lnTo>
                        <a:lnTo>
                          <a:pt x="0" y="73951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</p:spPr>
                <p:style>
                  <a:lnRef idx="0">
                    <a:schemeClr val="dk1">
                      <a:alpha val="0"/>
                      <a:hueOff val="0"/>
                      <a:satOff val="0"/>
                      <a:lumOff val="0"/>
                      <a:alphaOff val="0"/>
                    </a:schemeClr>
                  </a:lnRef>
                  <a:fill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tx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 spcFirstLastPara="0" vert="horz" wrap="square" lIns="41910" tIns="41910" rIns="41910" bIns="41910" numCol="1" spcCol="1270" anchor="ctr" anchorCtr="0">
                    <a:noAutofit/>
                  </a:bodyPr>
                  <a:lstStyle/>
                  <a:p>
                    <a:pPr marL="0" lvl="0" indent="0" algn="ctr" defTabSz="48895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buFont typeface="Arial" panose="020B0604020202020204" pitchFamily="34" charset="0"/>
                      <a:buNone/>
                    </a:pPr>
                    <a:r>
                      <a:rPr lang="en-US" sz="1100" b="1" kern="1200" dirty="0"/>
                      <a:t>Trending Now </a:t>
                    </a:r>
                    <a:r>
                      <a:rPr lang="en-US" sz="1100" kern="1200" dirty="0"/>
                      <a:t>provides users with the most viral content (global or local)</a:t>
                    </a:r>
                    <a:endParaRPr lang="en-GB" sz="1100" kern="1200" dirty="0"/>
                  </a:p>
                </p:txBody>
              </p:sp>
            </p:grpSp>
            <p:sp>
              <p:nvSpPr>
                <p:cNvPr id="34" name="Freeform 33">
                  <a:extLst>
                    <a:ext uri="{FF2B5EF4-FFF2-40B4-BE49-F238E27FC236}">
                      <a16:creationId xmlns:a16="http://schemas.microsoft.com/office/drawing/2014/main" id="{E3C4D1DB-EF0D-582A-7A2B-96FA5B00FAA1}"/>
                    </a:ext>
                  </a:extLst>
                </p:cNvPr>
                <p:cNvSpPr/>
                <p:nvPr/>
              </p:nvSpPr>
              <p:spPr>
                <a:xfrm>
                  <a:off x="6493077" y="1984970"/>
                  <a:ext cx="1800000" cy="720000"/>
                </a:xfrm>
                <a:custGeom>
                  <a:avLst/>
                  <a:gdLst>
                    <a:gd name="connsiteX0" fmla="*/ 0 w 1375489"/>
                    <a:gd name="connsiteY0" fmla="*/ 0 h 739510"/>
                    <a:gd name="connsiteX1" fmla="*/ 1375489 w 1375489"/>
                    <a:gd name="connsiteY1" fmla="*/ 0 h 739510"/>
                    <a:gd name="connsiteX2" fmla="*/ 1375489 w 1375489"/>
                    <a:gd name="connsiteY2" fmla="*/ 739510 h 739510"/>
                    <a:gd name="connsiteX3" fmla="*/ 0 w 1375489"/>
                    <a:gd name="connsiteY3" fmla="*/ 739510 h 739510"/>
                    <a:gd name="connsiteX4" fmla="*/ 0 w 1375489"/>
                    <a:gd name="connsiteY4" fmla="*/ 0 h 7395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75489" h="739510">
                      <a:moveTo>
                        <a:pt x="0" y="0"/>
                      </a:moveTo>
                      <a:lnTo>
                        <a:pt x="1375489" y="0"/>
                      </a:lnTo>
                      <a:lnTo>
                        <a:pt x="1375489" y="739510"/>
                      </a:lnTo>
                      <a:lnTo>
                        <a:pt x="0" y="73951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0">
                  <a:schemeClr val="dk1">
                    <a:alpha val="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41910" tIns="41910" rIns="41910" bIns="41910" numCol="1" spcCol="1270" anchor="ctr" anchorCtr="0">
                  <a:noAutofit/>
                </a:bodyPr>
                <a:lstStyle/>
                <a:p>
                  <a:pPr marL="0" lvl="0" indent="0" algn="ctr" defTabSz="4889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1100" b="1" kern="1200" dirty="0"/>
                    <a:t>Live events </a:t>
                  </a:r>
                  <a:r>
                    <a:rPr lang="en-US" sz="1100" kern="1200" dirty="0"/>
                    <a:t>allow users to expand their music experience from the app to the stadium</a:t>
                  </a:r>
                  <a:endParaRPr lang="en-GB" sz="1100" kern="1200" dirty="0"/>
                </a:p>
              </p:txBody>
            </p:sp>
          </p:grpSp>
          <p:sp>
            <p:nvSpPr>
              <p:cNvPr id="10" name="Triangle 9">
                <a:extLst>
                  <a:ext uri="{FF2B5EF4-FFF2-40B4-BE49-F238E27FC236}">
                    <a16:creationId xmlns:a16="http://schemas.microsoft.com/office/drawing/2014/main" id="{551FFE49-B85B-CA44-4C69-E9E16FE5D325}"/>
                  </a:ext>
                </a:extLst>
              </p:cNvPr>
              <p:cNvSpPr/>
              <p:nvPr/>
            </p:nvSpPr>
            <p:spPr>
              <a:xfrm rot="5400000">
                <a:off x="8655042" y="3839013"/>
                <a:ext cx="1197630" cy="377604"/>
              </a:xfrm>
              <a:prstGeom prst="triangle">
                <a:avLst/>
              </a:prstGeom>
              <a:gradFill flip="none" rotWithShape="1">
                <a:gsLst>
                  <a:gs pos="0">
                    <a:srgbClr val="003CB8">
                      <a:shade val="30000"/>
                      <a:satMod val="115000"/>
                    </a:srgbClr>
                  </a:gs>
                  <a:gs pos="50000">
                    <a:srgbClr val="003CB8">
                      <a:shade val="67500"/>
                      <a:satMod val="115000"/>
                    </a:srgbClr>
                  </a:gs>
                  <a:gs pos="100000">
                    <a:srgbClr val="003CB8">
                      <a:shade val="100000"/>
                      <a:satMod val="115000"/>
                    </a:srgbClr>
                  </a:gs>
                </a:gsLst>
                <a:lin ang="10800000" scaled="1"/>
                <a:tileRect/>
              </a:gra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A57C42EA-936C-E0E5-0E17-33BE577E492D}"/>
                  </a:ext>
                </a:extLst>
              </p:cNvPr>
              <p:cNvPicPr>
                <a:picLocks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477523" y="3048970"/>
                <a:ext cx="396000" cy="396000"/>
              </a:xfrm>
              <a:prstGeom prst="rect">
                <a:avLst/>
              </a:prstGeom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C45B8FE4-E349-DCD4-7D13-25AB5A941978}"/>
                  </a:ext>
                </a:extLst>
              </p:cNvPr>
              <p:cNvPicPr>
                <a:picLocks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778103" y="3943242"/>
                <a:ext cx="396000" cy="396000"/>
              </a:xfrm>
              <a:prstGeom prst="rect">
                <a:avLst/>
              </a:prstGeom>
            </p:spPr>
          </p:pic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3A1A62F4-4A33-E38E-8CD3-CEF107888BF1}"/>
                  </a:ext>
                </a:extLst>
              </p:cNvPr>
              <p:cNvPicPr>
                <a:picLocks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074627" y="3124888"/>
                <a:ext cx="396000" cy="396000"/>
              </a:xfrm>
              <a:prstGeom prst="rect">
                <a:avLst/>
              </a:prstGeom>
            </p:spPr>
          </p:pic>
          <p:pic>
            <p:nvPicPr>
              <p:cNvPr id="51" name="Picture 50">
                <a:extLst>
                  <a:ext uri="{FF2B5EF4-FFF2-40B4-BE49-F238E27FC236}">
                    <a16:creationId xmlns:a16="http://schemas.microsoft.com/office/drawing/2014/main" id="{54BB165A-4A70-E044-CF4C-0B1401E13782}"/>
                  </a:ext>
                </a:extLst>
              </p:cNvPr>
              <p:cNvPicPr>
                <a:picLocks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366100" y="3930379"/>
                <a:ext cx="396000" cy="396000"/>
              </a:xfrm>
              <a:prstGeom prst="rect">
                <a:avLst/>
              </a:prstGeom>
            </p:spPr>
          </p:pic>
          <p:pic>
            <p:nvPicPr>
              <p:cNvPr id="52" name="Picture 51">
                <a:extLst>
                  <a:ext uri="{FF2B5EF4-FFF2-40B4-BE49-F238E27FC236}">
                    <a16:creationId xmlns:a16="http://schemas.microsoft.com/office/drawing/2014/main" id="{A3629F21-FAD2-B6AD-B24F-31DA1BAF368B}"/>
                  </a:ext>
                </a:extLst>
              </p:cNvPr>
              <p:cNvPicPr>
                <a:picLocks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589115" y="3070928"/>
                <a:ext cx="396000" cy="396000"/>
              </a:xfrm>
              <a:prstGeom prst="rect">
                <a:avLst/>
              </a:prstGeom>
            </p:spPr>
          </p:pic>
          <p:pic>
            <p:nvPicPr>
              <p:cNvPr id="53" name="Picture 52">
                <a:extLst>
                  <a:ext uri="{FF2B5EF4-FFF2-40B4-BE49-F238E27FC236}">
                    <a16:creationId xmlns:a16="http://schemas.microsoft.com/office/drawing/2014/main" id="{16DAC726-B9D3-9E90-E992-87F6D57A0AC4}"/>
                  </a:ext>
                </a:extLst>
              </p:cNvPr>
              <p:cNvPicPr>
                <a:picLocks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827114" y="3829815"/>
                <a:ext cx="396000" cy="396000"/>
              </a:xfrm>
              <a:prstGeom prst="rect">
                <a:avLst/>
              </a:prstGeom>
            </p:spPr>
          </p:pic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78435884-DC83-4E44-A70A-F4B8F5D013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0203392" y="3234535"/>
                <a:ext cx="511085" cy="511085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5083078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9D6070-8F62-B6B3-430A-DA492F77FF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392" y="367200"/>
            <a:ext cx="10122632" cy="979200"/>
          </a:xfrm>
        </p:spPr>
        <p:txBody>
          <a:bodyPr/>
          <a:lstStyle/>
          <a:p>
            <a:r>
              <a:rPr lang="en-US" dirty="0"/>
              <a:t>data source &amp; feature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3861BEC-0F87-F350-4ABF-73566115462A}"/>
              </a:ext>
            </a:extLst>
          </p:cNvPr>
          <p:cNvGrpSpPr/>
          <p:nvPr/>
        </p:nvGrpSpPr>
        <p:grpSpPr>
          <a:xfrm>
            <a:off x="1506193" y="1818938"/>
            <a:ext cx="7923388" cy="4592394"/>
            <a:chOff x="1506193" y="1818938"/>
            <a:chExt cx="7923388" cy="4592394"/>
          </a:xfrm>
        </p:grpSpPr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D72B1112-A02F-18B0-9606-9C424FD1FEFF}"/>
                </a:ext>
              </a:extLst>
            </p:cNvPr>
            <p:cNvSpPr/>
            <p:nvPr/>
          </p:nvSpPr>
          <p:spPr>
            <a:xfrm>
              <a:off x="2884943" y="1957433"/>
              <a:ext cx="3930647" cy="3931089"/>
            </a:xfrm>
            <a:custGeom>
              <a:avLst/>
              <a:gdLst>
                <a:gd name="connsiteX0" fmla="*/ 0 w 3930647"/>
                <a:gd name="connsiteY0" fmla="*/ 1965545 h 3931089"/>
                <a:gd name="connsiteX1" fmla="*/ 1965324 w 3930647"/>
                <a:gd name="connsiteY1" fmla="*/ 0 h 3931089"/>
                <a:gd name="connsiteX2" fmla="*/ 3930648 w 3930647"/>
                <a:gd name="connsiteY2" fmla="*/ 1965545 h 3931089"/>
                <a:gd name="connsiteX3" fmla="*/ 1965324 w 3930647"/>
                <a:gd name="connsiteY3" fmla="*/ 3931090 h 3931089"/>
                <a:gd name="connsiteX4" fmla="*/ 0 w 3930647"/>
                <a:gd name="connsiteY4" fmla="*/ 1965545 h 3931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0647" h="3931089">
                  <a:moveTo>
                    <a:pt x="0" y="1965545"/>
                  </a:moveTo>
                  <a:cubicBezTo>
                    <a:pt x="0" y="880004"/>
                    <a:pt x="879906" y="0"/>
                    <a:pt x="1965324" y="0"/>
                  </a:cubicBezTo>
                  <a:cubicBezTo>
                    <a:pt x="3050742" y="0"/>
                    <a:pt x="3930648" y="880004"/>
                    <a:pt x="3930648" y="1965545"/>
                  </a:cubicBezTo>
                  <a:cubicBezTo>
                    <a:pt x="3930648" y="3051086"/>
                    <a:pt x="3050742" y="3931090"/>
                    <a:pt x="1965324" y="3931090"/>
                  </a:cubicBezTo>
                  <a:cubicBezTo>
                    <a:pt x="879906" y="3931090"/>
                    <a:pt x="0" y="3051086"/>
                    <a:pt x="0" y="1965545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36590" tIns="636655" rIns="636590" bIns="636655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1600" b="1" kern="1200" dirty="0">
                  <a:solidFill>
                    <a:schemeClr val="bg1"/>
                  </a:solidFill>
                </a:rPr>
                <a:t>Enriched Spotify 1M+ Dataset</a:t>
              </a: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2B8D4CB7-C57C-B8F8-355C-10612454EF1A}"/>
                </a:ext>
              </a:extLst>
            </p:cNvPr>
            <p:cNvSpPr/>
            <p:nvPr/>
          </p:nvSpPr>
          <p:spPr>
            <a:xfrm>
              <a:off x="5128032" y="1818938"/>
              <a:ext cx="437007" cy="437195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8E03623B-7B1C-8584-3C26-6F0D01E80780}"/>
                </a:ext>
              </a:extLst>
            </p:cNvPr>
            <p:cNvSpPr/>
            <p:nvPr/>
          </p:nvSpPr>
          <p:spPr>
            <a:xfrm>
              <a:off x="4093567" y="5637055"/>
              <a:ext cx="316870" cy="316875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B91D925D-6B46-5F64-F196-B5D8CD1C54FF}"/>
                </a:ext>
              </a:extLst>
            </p:cNvPr>
            <p:cNvSpPr/>
            <p:nvPr/>
          </p:nvSpPr>
          <p:spPr>
            <a:xfrm>
              <a:off x="3244484" y="2526099"/>
              <a:ext cx="316870" cy="316875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FDE4616-93FA-DA27-F85E-A7D6C793D399}"/>
                </a:ext>
              </a:extLst>
            </p:cNvPr>
            <p:cNvSpPr/>
            <p:nvPr/>
          </p:nvSpPr>
          <p:spPr>
            <a:xfrm>
              <a:off x="5554558" y="5974137"/>
              <a:ext cx="437007" cy="437195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0B2E786-2B2B-5BC4-FBF6-862CB7214B40}"/>
                </a:ext>
              </a:extLst>
            </p:cNvPr>
            <p:cNvSpPr/>
            <p:nvPr/>
          </p:nvSpPr>
          <p:spPr>
            <a:xfrm>
              <a:off x="4182258" y="2440289"/>
              <a:ext cx="316870" cy="316875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ABED1A6B-9711-8884-DD76-1BB6F30BC44C}"/>
                </a:ext>
              </a:extLst>
            </p:cNvPr>
            <p:cNvSpPr/>
            <p:nvPr/>
          </p:nvSpPr>
          <p:spPr>
            <a:xfrm>
              <a:off x="2043611" y="2497513"/>
              <a:ext cx="1598060" cy="1597694"/>
            </a:xfrm>
            <a:custGeom>
              <a:avLst/>
              <a:gdLst>
                <a:gd name="connsiteX0" fmla="*/ 0 w 1598060"/>
                <a:gd name="connsiteY0" fmla="*/ 798847 h 1597694"/>
                <a:gd name="connsiteX1" fmla="*/ 799030 w 1598060"/>
                <a:gd name="connsiteY1" fmla="*/ 0 h 1597694"/>
                <a:gd name="connsiteX2" fmla="*/ 1598060 w 1598060"/>
                <a:gd name="connsiteY2" fmla="*/ 798847 h 1597694"/>
                <a:gd name="connsiteX3" fmla="*/ 799030 w 1598060"/>
                <a:gd name="connsiteY3" fmla="*/ 1597694 h 1597694"/>
                <a:gd name="connsiteX4" fmla="*/ 0 w 1598060"/>
                <a:gd name="connsiteY4" fmla="*/ 798847 h 159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8060" h="1597694">
                  <a:moveTo>
                    <a:pt x="0" y="798847"/>
                  </a:moveTo>
                  <a:cubicBezTo>
                    <a:pt x="0" y="357656"/>
                    <a:pt x="357738" y="0"/>
                    <a:pt x="799030" y="0"/>
                  </a:cubicBezTo>
                  <a:cubicBezTo>
                    <a:pt x="1240322" y="0"/>
                    <a:pt x="1598060" y="357656"/>
                    <a:pt x="1598060" y="798847"/>
                  </a:cubicBezTo>
                  <a:cubicBezTo>
                    <a:pt x="1598060" y="1240038"/>
                    <a:pt x="1240322" y="1597694"/>
                    <a:pt x="799030" y="1597694"/>
                  </a:cubicBezTo>
                  <a:cubicBezTo>
                    <a:pt x="357738" y="1597694"/>
                    <a:pt x="0" y="1240038"/>
                    <a:pt x="0" y="798847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0000"/>
                    <a:lumOff val="40000"/>
                    <a:shade val="30000"/>
                    <a:satMod val="115000"/>
                  </a:schemeClr>
                </a:gs>
                <a:gs pos="50000">
                  <a:schemeClr val="accent6">
                    <a:lumMod val="60000"/>
                    <a:lumOff val="40000"/>
                    <a:shade val="67500"/>
                    <a:satMod val="115000"/>
                  </a:schemeClr>
                </a:gs>
                <a:gs pos="100000">
                  <a:schemeClr val="accent6">
                    <a:lumMod val="60000"/>
                    <a:lumOff val="40000"/>
                    <a:shade val="100000"/>
                    <a:satMod val="115000"/>
                  </a:schemeClr>
                </a:gs>
              </a:gsLst>
              <a:lin ang="2700000" scaled="1"/>
              <a:tileRect/>
            </a:gra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94990" tIns="294937" rIns="294990" bIns="294937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1600" b="1" kern="1200" dirty="0">
                  <a:solidFill>
                    <a:schemeClr val="bg1"/>
                  </a:solidFill>
                </a:rPr>
                <a:t>Sentiment Data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C6B8BBA8-2201-F905-61DD-EDA1AE7C80AF}"/>
                </a:ext>
              </a:extLst>
            </p:cNvPr>
            <p:cNvSpPr/>
            <p:nvPr/>
          </p:nvSpPr>
          <p:spPr>
            <a:xfrm>
              <a:off x="4686187" y="2454066"/>
              <a:ext cx="437007" cy="437195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4473B2D6-FCA7-0A5E-E19E-979D838100A7}"/>
                </a:ext>
              </a:extLst>
            </p:cNvPr>
            <p:cNvSpPr/>
            <p:nvPr/>
          </p:nvSpPr>
          <p:spPr>
            <a:xfrm>
              <a:off x="5979562" y="4976117"/>
              <a:ext cx="790160" cy="790351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9D6623D1-E6F1-5F9D-61F6-E5D5C7B82576}"/>
                </a:ext>
              </a:extLst>
            </p:cNvPr>
            <p:cNvSpPr/>
            <p:nvPr/>
          </p:nvSpPr>
          <p:spPr>
            <a:xfrm>
              <a:off x="7219540" y="1955792"/>
              <a:ext cx="1598060" cy="1597694"/>
            </a:xfrm>
            <a:custGeom>
              <a:avLst/>
              <a:gdLst>
                <a:gd name="connsiteX0" fmla="*/ 0 w 1598060"/>
                <a:gd name="connsiteY0" fmla="*/ 798847 h 1597694"/>
                <a:gd name="connsiteX1" fmla="*/ 799030 w 1598060"/>
                <a:gd name="connsiteY1" fmla="*/ 0 h 1597694"/>
                <a:gd name="connsiteX2" fmla="*/ 1598060 w 1598060"/>
                <a:gd name="connsiteY2" fmla="*/ 798847 h 1597694"/>
                <a:gd name="connsiteX3" fmla="*/ 799030 w 1598060"/>
                <a:gd name="connsiteY3" fmla="*/ 1597694 h 1597694"/>
                <a:gd name="connsiteX4" fmla="*/ 0 w 1598060"/>
                <a:gd name="connsiteY4" fmla="*/ 798847 h 159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8060" h="1597694">
                  <a:moveTo>
                    <a:pt x="0" y="798847"/>
                  </a:moveTo>
                  <a:cubicBezTo>
                    <a:pt x="0" y="357656"/>
                    <a:pt x="357738" y="0"/>
                    <a:pt x="799030" y="0"/>
                  </a:cubicBezTo>
                  <a:cubicBezTo>
                    <a:pt x="1240322" y="0"/>
                    <a:pt x="1598060" y="357656"/>
                    <a:pt x="1598060" y="798847"/>
                  </a:cubicBezTo>
                  <a:cubicBezTo>
                    <a:pt x="1598060" y="1240038"/>
                    <a:pt x="1240322" y="1597694"/>
                    <a:pt x="799030" y="1597694"/>
                  </a:cubicBezTo>
                  <a:cubicBezTo>
                    <a:pt x="357738" y="1597694"/>
                    <a:pt x="0" y="1240038"/>
                    <a:pt x="0" y="798847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shade val="30000"/>
                    <a:satMod val="115000"/>
                  </a:schemeClr>
                </a:gs>
                <a:gs pos="50000">
                  <a:schemeClr val="accent4">
                    <a:shade val="67500"/>
                    <a:satMod val="115000"/>
                  </a:schemeClr>
                </a:gs>
                <a:gs pos="100000">
                  <a:schemeClr val="accent4">
                    <a:shade val="100000"/>
                    <a:satMod val="115000"/>
                  </a:schemeClr>
                </a:gs>
              </a:gsLst>
              <a:lin ang="8100000" scaled="1"/>
              <a:tileRect/>
            </a:gra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94990" tIns="294937" rIns="294990" bIns="294937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1600" kern="1200" dirty="0"/>
                <a:t>User Listening </a:t>
              </a: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7D9C2D2D-4AE1-E40C-D0C2-BCB1936F2981}"/>
                </a:ext>
              </a:extLst>
            </p:cNvPr>
            <p:cNvSpPr/>
            <p:nvPr/>
          </p:nvSpPr>
          <p:spPr>
            <a:xfrm>
              <a:off x="6505976" y="3058885"/>
              <a:ext cx="437007" cy="437195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EB700B0F-8BE3-6042-5CEE-D4A5E93AB6F8}"/>
                </a:ext>
              </a:extLst>
            </p:cNvPr>
            <p:cNvSpPr/>
            <p:nvPr/>
          </p:nvSpPr>
          <p:spPr>
            <a:xfrm>
              <a:off x="1506193" y="5714207"/>
              <a:ext cx="316870" cy="316875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ED33048B-E98F-A010-7A13-63E5648B8092}"/>
                </a:ext>
              </a:extLst>
            </p:cNvPr>
            <p:cNvSpPr/>
            <p:nvPr/>
          </p:nvSpPr>
          <p:spPr>
            <a:xfrm>
              <a:off x="4663611" y="5263234"/>
              <a:ext cx="316870" cy="316875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0BD40AB3-8FC6-A447-DA3B-5369339F065D}"/>
                </a:ext>
              </a:extLst>
            </p:cNvPr>
            <p:cNvSpPr/>
            <p:nvPr/>
          </p:nvSpPr>
          <p:spPr>
            <a:xfrm>
              <a:off x="7831521" y="4672043"/>
              <a:ext cx="1598060" cy="1597694"/>
            </a:xfrm>
            <a:custGeom>
              <a:avLst/>
              <a:gdLst>
                <a:gd name="connsiteX0" fmla="*/ 0 w 1598060"/>
                <a:gd name="connsiteY0" fmla="*/ 798847 h 1597694"/>
                <a:gd name="connsiteX1" fmla="*/ 799030 w 1598060"/>
                <a:gd name="connsiteY1" fmla="*/ 0 h 1597694"/>
                <a:gd name="connsiteX2" fmla="*/ 1598060 w 1598060"/>
                <a:gd name="connsiteY2" fmla="*/ 798847 h 1597694"/>
                <a:gd name="connsiteX3" fmla="*/ 799030 w 1598060"/>
                <a:gd name="connsiteY3" fmla="*/ 1597694 h 1597694"/>
                <a:gd name="connsiteX4" fmla="*/ 0 w 1598060"/>
                <a:gd name="connsiteY4" fmla="*/ 798847 h 159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8060" h="1597694">
                  <a:moveTo>
                    <a:pt x="0" y="798847"/>
                  </a:moveTo>
                  <a:cubicBezTo>
                    <a:pt x="0" y="357656"/>
                    <a:pt x="357738" y="0"/>
                    <a:pt x="799030" y="0"/>
                  </a:cubicBezTo>
                  <a:cubicBezTo>
                    <a:pt x="1240322" y="0"/>
                    <a:pt x="1598060" y="357656"/>
                    <a:pt x="1598060" y="798847"/>
                  </a:cubicBezTo>
                  <a:cubicBezTo>
                    <a:pt x="1598060" y="1240038"/>
                    <a:pt x="1240322" y="1597694"/>
                    <a:pt x="799030" y="1597694"/>
                  </a:cubicBezTo>
                  <a:cubicBezTo>
                    <a:pt x="357738" y="1597694"/>
                    <a:pt x="0" y="1240038"/>
                    <a:pt x="0" y="798847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shade val="30000"/>
                    <a:satMod val="115000"/>
                  </a:schemeClr>
                </a:gs>
                <a:gs pos="50000">
                  <a:schemeClr val="accent6">
                    <a:shade val="67500"/>
                    <a:satMod val="115000"/>
                  </a:schemeClr>
                </a:gs>
                <a:gs pos="100000">
                  <a:schemeClr val="accent6"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94990" tIns="294937" rIns="294990" bIns="294937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1600" kern="1200" dirty="0"/>
                <a:t>User Interaction</a:t>
              </a: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FBA880BE-077C-55FD-1403-0B6119ED6F96}"/>
                </a:ext>
              </a:extLst>
            </p:cNvPr>
            <p:cNvSpPr/>
            <p:nvPr/>
          </p:nvSpPr>
          <p:spPr>
            <a:xfrm>
              <a:off x="7520285" y="4661630"/>
              <a:ext cx="316870" cy="316875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A816C9F-62A5-22BE-9148-0C6506A38B44}"/>
                </a:ext>
              </a:extLst>
            </p:cNvPr>
            <p:cNvSpPr/>
            <p:nvPr/>
          </p:nvSpPr>
          <p:spPr>
            <a:xfrm>
              <a:off x="3426763" y="5232633"/>
              <a:ext cx="316870" cy="316875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N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249B3072-56AA-E0D6-462D-B14E32A84992}"/>
              </a:ext>
            </a:extLst>
          </p:cNvPr>
          <p:cNvSpPr txBox="1"/>
          <p:nvPr/>
        </p:nvSpPr>
        <p:spPr>
          <a:xfrm>
            <a:off x="9432901" y="5160061"/>
            <a:ext cx="1836636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300" dirty="0"/>
              <a:t>Likes/Dislikes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300" dirty="0"/>
              <a:t>Playlist additions </a:t>
            </a:r>
            <a:endParaRPr lang="en-US" sz="13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B0046E5-26F1-64E9-BE47-A013F17C15FF}"/>
              </a:ext>
            </a:extLst>
          </p:cNvPr>
          <p:cNvSpPr txBox="1"/>
          <p:nvPr/>
        </p:nvSpPr>
        <p:spPr>
          <a:xfrm>
            <a:off x="9013167" y="2397175"/>
            <a:ext cx="223306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300" dirty="0"/>
              <a:t>Captured</a:t>
            </a:r>
            <a:r>
              <a:rPr lang="en-IN" sz="1400" dirty="0"/>
              <a:t> via </a:t>
            </a:r>
            <a:r>
              <a:rPr lang="en-IN" sz="1400" b="1" dirty="0"/>
              <a:t>Spotify API</a:t>
            </a:r>
            <a:r>
              <a:rPr lang="en-IN" sz="1400" dirty="0"/>
              <a:t>.</a:t>
            </a:r>
          </a:p>
        </p:txBody>
      </p:sp>
      <p:sp>
        <p:nvSpPr>
          <p:cNvPr id="35" name="Freeform 34">
            <a:extLst>
              <a:ext uri="{FF2B5EF4-FFF2-40B4-BE49-F238E27FC236}">
                <a16:creationId xmlns:a16="http://schemas.microsoft.com/office/drawing/2014/main" id="{583CF475-CAB2-F5D9-B50A-787A075BC9CA}"/>
              </a:ext>
            </a:extLst>
          </p:cNvPr>
          <p:cNvSpPr/>
          <p:nvPr/>
        </p:nvSpPr>
        <p:spPr>
          <a:xfrm>
            <a:off x="2043611" y="4227580"/>
            <a:ext cx="1598060" cy="1597694"/>
          </a:xfrm>
          <a:custGeom>
            <a:avLst/>
            <a:gdLst>
              <a:gd name="connsiteX0" fmla="*/ 0 w 1598060"/>
              <a:gd name="connsiteY0" fmla="*/ 798847 h 1597694"/>
              <a:gd name="connsiteX1" fmla="*/ 799030 w 1598060"/>
              <a:gd name="connsiteY1" fmla="*/ 0 h 1597694"/>
              <a:gd name="connsiteX2" fmla="*/ 1598060 w 1598060"/>
              <a:gd name="connsiteY2" fmla="*/ 798847 h 1597694"/>
              <a:gd name="connsiteX3" fmla="*/ 799030 w 1598060"/>
              <a:gd name="connsiteY3" fmla="*/ 1597694 h 1597694"/>
              <a:gd name="connsiteX4" fmla="*/ 0 w 1598060"/>
              <a:gd name="connsiteY4" fmla="*/ 798847 h 1597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8060" h="1597694">
                <a:moveTo>
                  <a:pt x="0" y="798847"/>
                </a:moveTo>
                <a:cubicBezTo>
                  <a:pt x="0" y="357656"/>
                  <a:pt x="357738" y="0"/>
                  <a:pt x="799030" y="0"/>
                </a:cubicBezTo>
                <a:cubicBezTo>
                  <a:pt x="1240322" y="0"/>
                  <a:pt x="1598060" y="357656"/>
                  <a:pt x="1598060" y="798847"/>
                </a:cubicBezTo>
                <a:cubicBezTo>
                  <a:pt x="1598060" y="1240038"/>
                  <a:pt x="1240322" y="1597694"/>
                  <a:pt x="799030" y="1597694"/>
                </a:cubicBezTo>
                <a:cubicBezTo>
                  <a:pt x="357738" y="1597694"/>
                  <a:pt x="0" y="1240038"/>
                  <a:pt x="0" y="798847"/>
                </a:cubicBezTo>
                <a:close/>
              </a:path>
            </a:pathLst>
          </a:custGeom>
          <a:gradFill flip="none" rotWithShape="1">
            <a:gsLst>
              <a:gs pos="0">
                <a:schemeClr val="accent6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accent6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accent6">
                  <a:lumMod val="60000"/>
                  <a:lumOff val="40000"/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94990" tIns="294937" rIns="294990" bIns="294937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600" b="1" kern="1200" dirty="0">
                <a:solidFill>
                  <a:schemeClr val="bg1"/>
                </a:solidFill>
              </a:rPr>
              <a:t>Locale Data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F7FC908-4C26-19EC-3001-4DC2AC347797}"/>
              </a:ext>
            </a:extLst>
          </p:cNvPr>
          <p:cNvSpPr txBox="1"/>
          <p:nvPr/>
        </p:nvSpPr>
        <p:spPr>
          <a:xfrm>
            <a:off x="337903" y="2692462"/>
            <a:ext cx="1797951" cy="1092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300" dirty="0"/>
              <a:t>Analyzed six audio features to define the sentiment/mood of each song in the training dataset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3C3BB93-F2D7-D8BD-EFF1-6CADD2241D77}"/>
              </a:ext>
            </a:extLst>
          </p:cNvPr>
          <p:cNvSpPr txBox="1"/>
          <p:nvPr/>
        </p:nvSpPr>
        <p:spPr>
          <a:xfrm>
            <a:off x="337903" y="4480124"/>
            <a:ext cx="1927000" cy="1092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300" dirty="0"/>
              <a:t>Identified languages using Llama3.1 – 8B inference model and common public datasets.</a:t>
            </a:r>
          </a:p>
        </p:txBody>
      </p:sp>
    </p:spTree>
    <p:extLst>
      <p:ext uri="{BB962C8B-B14F-4D97-AF65-F5344CB8AC3E}">
        <p14:creationId xmlns:p14="http://schemas.microsoft.com/office/powerpoint/2010/main" val="39006407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E509FE4-785D-42B3-425B-8297006238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509FE4-785D-42B3-425B-8297006238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1B39E9C4-4D11-5C5D-75EB-4FC1EF89D4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81483" y="1075518"/>
            <a:ext cx="8659433" cy="578248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5896F83-494B-634F-35D1-082EE8E92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9600" y="367200"/>
            <a:ext cx="10123200" cy="979200"/>
          </a:xfrm>
        </p:spPr>
        <p:txBody>
          <a:bodyPr vert="horz"/>
          <a:lstStyle/>
          <a:p>
            <a:r>
              <a:rPr lang="en-GB" dirty="0"/>
              <a:t>APP ARCHITECTURE</a:t>
            </a:r>
          </a:p>
        </p:txBody>
      </p:sp>
    </p:spTree>
    <p:extLst>
      <p:ext uri="{BB962C8B-B14F-4D97-AF65-F5344CB8AC3E}">
        <p14:creationId xmlns:p14="http://schemas.microsoft.com/office/powerpoint/2010/main" val="15334275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Footsteps Steps Photos, Images &amp; Pictures | Shutterstock">
            <a:extLst>
              <a:ext uri="{FF2B5EF4-FFF2-40B4-BE49-F238E27FC236}">
                <a16:creationId xmlns:a16="http://schemas.microsoft.com/office/drawing/2014/main" id="{1B7B0960-FB34-5A98-53B3-3F566CD11D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72"/>
          <a:stretch/>
        </p:blipFill>
        <p:spPr bwMode="auto">
          <a:xfrm>
            <a:off x="3948644" y="1226603"/>
            <a:ext cx="7392964" cy="5513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F6BC588-95DC-3E84-0932-CD865B3E42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8204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6BC588-95DC-3E84-0932-CD865B3E42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01BA8B96-A97F-34F3-6F87-24039CBE0C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392" y="365760"/>
            <a:ext cx="10085832" cy="978408"/>
          </a:xfrm>
        </p:spPr>
        <p:txBody>
          <a:bodyPr vert="horz"/>
          <a:lstStyle/>
          <a:p>
            <a:r>
              <a:rPr lang="en-US" dirty="0"/>
              <a:t>NEXT STEP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A235974-1A3D-2F95-9DA6-0B610F0E59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50392" y="1911096"/>
            <a:ext cx="9508454" cy="289864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Funding approach (bootstrapped or debt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Build a Te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Build a mobile ap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User Eng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Go To Market - Marketing and Ads </a:t>
            </a:r>
          </a:p>
        </p:txBody>
      </p:sp>
    </p:spTree>
    <p:extLst>
      <p:ext uri="{BB962C8B-B14F-4D97-AF65-F5344CB8AC3E}">
        <p14:creationId xmlns:p14="http://schemas.microsoft.com/office/powerpoint/2010/main" val="1216979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Output - Free business and finance icons">
            <a:extLst>
              <a:ext uri="{FF2B5EF4-FFF2-40B4-BE49-F238E27FC236}">
                <a16:creationId xmlns:a16="http://schemas.microsoft.com/office/drawing/2014/main" id="{C94EA789-E1C9-23C4-8CF1-E8C89765E8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79" y="854964"/>
            <a:ext cx="5545836" cy="5545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F6BC588-95DC-3E84-0932-CD865B3E42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6BC588-95DC-3E84-0932-CD865B3E42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01BA8B96-A97F-34F3-6F87-24039CBE0C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392" y="365760"/>
            <a:ext cx="10085832" cy="978408"/>
          </a:xfrm>
        </p:spPr>
        <p:txBody>
          <a:bodyPr vert="horz"/>
          <a:lstStyle/>
          <a:p>
            <a:r>
              <a:rPr lang="en-US" dirty="0"/>
              <a:t>summary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A235974-1A3D-2F95-9DA6-0B610F0E59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50391" y="1911096"/>
            <a:ext cx="10085831" cy="289864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Enhances user experience with hyper-personalized recommend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Increases engagement &amp; monetization for streaming platfor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Scalable, innovative, and adaptable for future growth</a:t>
            </a:r>
            <a:endParaRPr lang="en-IN" sz="2800" dirty="0"/>
          </a:p>
        </p:txBody>
      </p:sp>
    </p:spTree>
    <p:extLst>
      <p:ext uri="{BB962C8B-B14F-4D97-AF65-F5344CB8AC3E}">
        <p14:creationId xmlns:p14="http://schemas.microsoft.com/office/powerpoint/2010/main" val="27528029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">
  <a:themeElements>
    <a:clrScheme name="Gree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Custom 19">
      <a:majorFont>
        <a:latin typeface="Arial Black"/>
        <a:ea typeface=""/>
        <a:cs typeface=""/>
      </a:majorFont>
      <a:minorFont>
        <a:latin typeface="Avenir Next LT Pro Light"/>
        <a:ea typeface=""/>
        <a:cs typeface=""/>
      </a:minorFont>
    </a:fontScheme>
    <a:fmtScheme name="Banded Edge">
      <a:fillStyleLst>
        <a:solidFill>
          <a:schemeClr val="phClr"/>
        </a:solidFill>
        <a:solidFill>
          <a:schemeClr val="phClr">
            <a:tint val="50000"/>
          </a:schemeClr>
        </a:solidFill>
        <a:gradFill rotWithShape="1">
          <a:gsLst>
            <a:gs pos="0">
              <a:schemeClr val="phClr"/>
            </a:gs>
            <a:gs pos="90000">
              <a:schemeClr val="phClr">
                <a:shade val="100000"/>
              </a:schemeClr>
            </a:gs>
            <a:gs pos="100000">
              <a:schemeClr val="phClr">
                <a:shade val="85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53975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7779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"/>
          </a:scene3d>
          <a:sp3d extrusionH="12700" contourW="25400" prstMaterial="flat">
            <a:bevelT w="63500" h="152400" prst="angle"/>
            <a:contourClr>
              <a:schemeClr val="phClr">
                <a:shade val="3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M56051434_win32_KB_V3.potx" id="{43D84336-549C-4EAD-AE8D-BE1D65DE3314}" vid="{2C1BB0A5-2565-4EB8-A5F5-FF12201C548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Background xmlns="71af3243-3dd4-4a8d-8c0d-dd76da1f02a5">false</Background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8" ma:contentTypeDescription="Create a new document." ma:contentTypeScope="" ma:versionID="60f5a4f2d2b0abadcf532d48ebf9cb71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7dd78129e6a1811f84807ad11c651531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internalName="Background">
      <xsd:simpleType>
        <xsd:restriction base="dms:Boolean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32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CD1C4F3-182B-4FFD-86F3-85933C0520B9}">
  <ds:schemaRefs>
    <ds:schemaRef ds:uri="16c05727-aa75-4e4a-9b5f-8a80a1165891"/>
    <ds:schemaRef ds:uri="230e9df3-be65-4c73-a93b-d1236ebd677e"/>
    <ds:schemaRef ds:uri="http://purl.org/dc/dcmitype/"/>
    <ds:schemaRef ds:uri="http://schemas.microsoft.com/office/infopath/2007/PartnerControls"/>
    <ds:schemaRef ds:uri="http://purl.org/dc/terms/"/>
    <ds:schemaRef ds:uri="http://schemas.microsoft.com/sharepoint/v3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www.w3.org/XML/1998/namespace"/>
    <ds:schemaRef ds:uri="71af3243-3dd4-4a8d-8c0d-dd76da1f02a5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F6D4D42E-C7BD-4080-9A83-56BA58F91A9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A0E3FE2-6B9B-4C9A-84D9-AD118750DE60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93aedbdc-cc67-4652-aa12-d250a876ae79}" enabled="0" method="" siteId="{93aedbdc-cc67-4652-aa12-d250a876ae79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37</TotalTime>
  <Words>647</Words>
  <Application>Microsoft Office PowerPoint</Application>
  <PresentationFormat>Widescreen</PresentationFormat>
  <Paragraphs>117</Paragraphs>
  <Slides>16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Arial</vt:lpstr>
      <vt:lpstr>Arial Black</vt:lpstr>
      <vt:lpstr>Avenir Next LT Pro</vt:lpstr>
      <vt:lpstr>Avenir Next LT Pro Light</vt:lpstr>
      <vt:lpstr>Calibri</vt:lpstr>
      <vt:lpstr>Courier New</vt:lpstr>
      <vt:lpstr>Custom</vt:lpstr>
      <vt:lpstr>think-cell Slide</vt:lpstr>
      <vt:lpstr>Personalized Music Recommendation</vt:lpstr>
      <vt:lpstr>problem statement</vt:lpstr>
      <vt:lpstr>Streaming Market Overview</vt:lpstr>
      <vt:lpstr>APP OVERVIEW</vt:lpstr>
      <vt:lpstr>songfox</vt:lpstr>
      <vt:lpstr>data source &amp; features</vt:lpstr>
      <vt:lpstr>APP ARCHITECTURE</vt:lpstr>
      <vt:lpstr>NEXT STEPS</vt:lpstr>
      <vt:lpstr>summary</vt:lpstr>
      <vt:lpstr>THANK YOU</vt:lpstr>
      <vt:lpstr>APPENDIX</vt:lpstr>
      <vt:lpstr>LOCALE DATA</vt:lpstr>
      <vt:lpstr>Key Metrics</vt:lpstr>
      <vt:lpstr>Competitive Gap</vt:lpstr>
      <vt:lpstr>TARGET Market</vt:lpstr>
      <vt:lpstr>Market Validation</vt:lpstr>
    </vt:vector>
  </TitlesOfParts>
  <Company>Esk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duct Pitch deck</dc:title>
  <dc:creator>Edwin Daniels</dc:creator>
  <cp:lastModifiedBy>Asmit Agarwal</cp:lastModifiedBy>
  <cp:revision>186</cp:revision>
  <dcterms:created xsi:type="dcterms:W3CDTF">2025-02-25T12:06:42Z</dcterms:created>
  <dcterms:modified xsi:type="dcterms:W3CDTF">2025-03-09T06:57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  <property fmtid="{D5CDD505-2E9C-101B-9397-08002B2CF9AE}" pid="3" name="MediaServiceImageTags">
    <vt:lpwstr/>
  </property>
</Properties>
</file>